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  <p:sldMasterId id="2147483684" r:id="rId2"/>
  </p:sldMasterIdLst>
  <p:notesMasterIdLst>
    <p:notesMasterId r:id="rId12"/>
  </p:notesMasterIdLst>
  <p:handoutMasterIdLst>
    <p:handoutMasterId r:id="rId13"/>
  </p:handoutMasterIdLst>
  <p:sldIdLst>
    <p:sldId id="258" r:id="rId3"/>
    <p:sldId id="314" r:id="rId4"/>
    <p:sldId id="327" r:id="rId5"/>
    <p:sldId id="321" r:id="rId6"/>
    <p:sldId id="329" r:id="rId7"/>
    <p:sldId id="324" r:id="rId8"/>
    <p:sldId id="325" r:id="rId9"/>
    <p:sldId id="328" r:id="rId10"/>
    <p:sldId id="323" r:id="rId11"/>
  </p:sldIdLst>
  <p:sldSz cx="10083800" cy="72009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268">
          <p15:clr>
            <a:srgbClr val="A4A3A4"/>
          </p15:clr>
        </p15:guide>
        <p15:guide id="2" pos="3176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CB040"/>
    <a:srgbClr val="0F75BC"/>
    <a:srgbClr val="FBFBFB"/>
    <a:srgbClr val="FDFDFD"/>
    <a:srgbClr val="F5F5F5"/>
    <a:srgbClr val="FEDBA8"/>
    <a:srgbClr val="70BFF4"/>
    <a:srgbClr val="CD7B03"/>
    <a:srgbClr val="083C6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168" autoAdjust="0"/>
    <p:restoredTop sz="87609" autoAdjust="0"/>
  </p:normalViewPr>
  <p:slideViewPr>
    <p:cSldViewPr snapToGrid="0">
      <p:cViewPr varScale="1">
        <p:scale>
          <a:sx n="58" d="100"/>
          <a:sy n="58" d="100"/>
        </p:scale>
        <p:origin x="-1512" y="-102"/>
      </p:cViewPr>
      <p:guideLst>
        <p:guide orient="horz" pos="2268"/>
        <p:guide pos="317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handoutMaster" Target="handoutMasters/handoutMaster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82DB6B7-EAB2-462E-A6A4-FC0EBA912A1B}" type="datetimeFigureOut">
              <a:rPr lang="pt-BR" smtClean="0"/>
              <a:t>09/05/2017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09A042C-4E10-47F6-A4DB-2752D1B8A91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6850246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A6ABD4D-B5DB-4516-9E77-5DD2A348E372}" type="datetimeFigureOut">
              <a:rPr lang="en-US" smtClean="0"/>
              <a:t>5/9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68413" y="1143000"/>
            <a:ext cx="432117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6DDD81-6398-41C3-9144-AF282354E47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02013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87643" rtl="0" eaLnBrk="1" latinLnBrk="0" hangingPunct="1">
      <a:defRPr sz="1296" kern="1200">
        <a:solidFill>
          <a:schemeClr val="tx1"/>
        </a:solidFill>
        <a:latin typeface="+mn-lt"/>
        <a:ea typeface="+mn-ea"/>
        <a:cs typeface="+mn-cs"/>
      </a:defRPr>
    </a:lvl1pPr>
    <a:lvl2pPr marL="493822" algn="l" defTabSz="987643" rtl="0" eaLnBrk="1" latinLnBrk="0" hangingPunct="1">
      <a:defRPr sz="1296" kern="1200">
        <a:solidFill>
          <a:schemeClr val="tx1"/>
        </a:solidFill>
        <a:latin typeface="+mn-lt"/>
        <a:ea typeface="+mn-ea"/>
        <a:cs typeface="+mn-cs"/>
      </a:defRPr>
    </a:lvl2pPr>
    <a:lvl3pPr marL="987643" algn="l" defTabSz="987643" rtl="0" eaLnBrk="1" latinLnBrk="0" hangingPunct="1">
      <a:defRPr sz="1296" kern="1200">
        <a:solidFill>
          <a:schemeClr val="tx1"/>
        </a:solidFill>
        <a:latin typeface="+mn-lt"/>
        <a:ea typeface="+mn-ea"/>
        <a:cs typeface="+mn-cs"/>
      </a:defRPr>
    </a:lvl3pPr>
    <a:lvl4pPr marL="1481465" algn="l" defTabSz="987643" rtl="0" eaLnBrk="1" latinLnBrk="0" hangingPunct="1">
      <a:defRPr sz="1296" kern="1200">
        <a:solidFill>
          <a:schemeClr val="tx1"/>
        </a:solidFill>
        <a:latin typeface="+mn-lt"/>
        <a:ea typeface="+mn-ea"/>
        <a:cs typeface="+mn-cs"/>
      </a:defRPr>
    </a:lvl4pPr>
    <a:lvl5pPr marL="1975287" algn="l" defTabSz="987643" rtl="0" eaLnBrk="1" latinLnBrk="0" hangingPunct="1">
      <a:defRPr sz="1296" kern="1200">
        <a:solidFill>
          <a:schemeClr val="tx1"/>
        </a:solidFill>
        <a:latin typeface="+mn-lt"/>
        <a:ea typeface="+mn-ea"/>
        <a:cs typeface="+mn-cs"/>
      </a:defRPr>
    </a:lvl5pPr>
    <a:lvl6pPr marL="2469109" algn="l" defTabSz="987643" rtl="0" eaLnBrk="1" latinLnBrk="0" hangingPunct="1">
      <a:defRPr sz="1296" kern="1200">
        <a:solidFill>
          <a:schemeClr val="tx1"/>
        </a:solidFill>
        <a:latin typeface="+mn-lt"/>
        <a:ea typeface="+mn-ea"/>
        <a:cs typeface="+mn-cs"/>
      </a:defRPr>
    </a:lvl6pPr>
    <a:lvl7pPr marL="2962930" algn="l" defTabSz="987643" rtl="0" eaLnBrk="1" latinLnBrk="0" hangingPunct="1">
      <a:defRPr sz="1296" kern="1200">
        <a:solidFill>
          <a:schemeClr val="tx1"/>
        </a:solidFill>
        <a:latin typeface="+mn-lt"/>
        <a:ea typeface="+mn-ea"/>
        <a:cs typeface="+mn-cs"/>
      </a:defRPr>
    </a:lvl7pPr>
    <a:lvl8pPr marL="3456752" algn="l" defTabSz="987643" rtl="0" eaLnBrk="1" latinLnBrk="0" hangingPunct="1">
      <a:defRPr sz="1296" kern="1200">
        <a:solidFill>
          <a:schemeClr val="tx1"/>
        </a:solidFill>
        <a:latin typeface="+mn-lt"/>
        <a:ea typeface="+mn-ea"/>
        <a:cs typeface="+mn-cs"/>
      </a:defRPr>
    </a:lvl8pPr>
    <a:lvl9pPr marL="3950574" algn="l" defTabSz="987643" rtl="0" eaLnBrk="1" latinLnBrk="0" hangingPunct="1">
      <a:defRPr sz="129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6DDD81-6398-41C3-9144-AF282354E47A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27529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6DDD81-6398-41C3-9144-AF282354E47A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954869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6DDD81-6398-41C3-9144-AF282354E47A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227947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6DDD81-6398-41C3-9144-AF282354E47A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24648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6DDD81-6398-41C3-9144-AF282354E47A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964684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6DDD81-6398-41C3-9144-AF282354E47A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592941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6DDD81-6398-41C3-9144-AF282354E47A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18007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473FFF-8A16-452B-A363-A634EA25D988}" type="datetime1">
              <a:rPr lang="en-US" smtClean="0"/>
              <a:t>5/9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nteligência e Tecnologia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993A7A-2128-4A6B-A341-CFD1EF2DF75E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25879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473FFF-8A16-452B-A363-A634EA25D988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9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Inteligência e Tecnologia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993A7A-2128-4A6B-A341-CFD1EF2DF75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63227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93261" y="1312296"/>
            <a:ext cx="4114800" cy="473659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75739" y="1312298"/>
            <a:ext cx="4114800" cy="473659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22CBB2-7184-4078-A7AE-E97364FD603B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9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Inteligência e Tecnologia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993A7A-2128-4A6B-A341-CFD1EF2DF75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809507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4574" y="383383"/>
            <a:ext cx="8697278" cy="54553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4574" y="1333880"/>
            <a:ext cx="4114800" cy="424158"/>
          </a:xfrm>
        </p:spPr>
        <p:txBody>
          <a:bodyPr anchor="ctr">
            <a:normAutofit/>
          </a:bodyPr>
          <a:lstStyle>
            <a:lvl1pPr marL="0" indent="0">
              <a:buNone/>
              <a:defRPr sz="2000" b="0" cap="all" baseline="0"/>
            </a:lvl1pPr>
            <a:lvl2pPr marL="480060" indent="0">
              <a:buNone/>
              <a:defRPr sz="2100" b="1"/>
            </a:lvl2pPr>
            <a:lvl3pPr marL="960120" indent="0">
              <a:buNone/>
              <a:defRPr sz="1890" b="1"/>
            </a:lvl3pPr>
            <a:lvl4pPr marL="1440180" indent="0">
              <a:buNone/>
              <a:defRPr sz="1680" b="1"/>
            </a:lvl4pPr>
            <a:lvl5pPr marL="1920240" indent="0">
              <a:buNone/>
              <a:defRPr sz="1680" b="1"/>
            </a:lvl5pPr>
            <a:lvl6pPr marL="2400300" indent="0">
              <a:buNone/>
              <a:defRPr sz="1680" b="1"/>
            </a:lvl6pPr>
            <a:lvl7pPr marL="2880360" indent="0">
              <a:buNone/>
              <a:defRPr sz="1680" b="1"/>
            </a:lvl7pPr>
            <a:lvl8pPr marL="3360420" indent="0">
              <a:buNone/>
              <a:defRPr sz="1680" b="1"/>
            </a:lvl8pPr>
            <a:lvl9pPr marL="3840480" indent="0">
              <a:buNone/>
              <a:defRPr sz="168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94576" y="2136084"/>
            <a:ext cx="4114800" cy="391363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275739" y="1333880"/>
            <a:ext cx="4114800" cy="424158"/>
          </a:xfrm>
        </p:spPr>
        <p:txBody>
          <a:bodyPr anchor="ctr">
            <a:normAutofit/>
          </a:bodyPr>
          <a:lstStyle>
            <a:lvl1pPr marL="0" indent="0">
              <a:buNone/>
              <a:defRPr sz="2000" b="0" cap="all" baseline="0"/>
            </a:lvl1pPr>
            <a:lvl2pPr marL="480060" indent="0">
              <a:buNone/>
              <a:defRPr sz="2100" b="1"/>
            </a:lvl2pPr>
            <a:lvl3pPr marL="960120" indent="0">
              <a:buNone/>
              <a:defRPr sz="1890" b="1"/>
            </a:lvl3pPr>
            <a:lvl4pPr marL="1440180" indent="0">
              <a:buNone/>
              <a:defRPr sz="1680" b="1"/>
            </a:lvl4pPr>
            <a:lvl5pPr marL="1920240" indent="0">
              <a:buNone/>
              <a:defRPr sz="1680" b="1"/>
            </a:lvl5pPr>
            <a:lvl6pPr marL="2400300" indent="0">
              <a:buNone/>
              <a:defRPr sz="1680" b="1"/>
            </a:lvl6pPr>
            <a:lvl7pPr marL="2880360" indent="0">
              <a:buNone/>
              <a:defRPr sz="1680" b="1"/>
            </a:lvl7pPr>
            <a:lvl8pPr marL="3360420" indent="0">
              <a:buNone/>
              <a:defRPr sz="1680" b="1"/>
            </a:lvl8pPr>
            <a:lvl9pPr marL="3840480" indent="0">
              <a:buNone/>
              <a:defRPr sz="168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275739" y="2137971"/>
            <a:ext cx="4114800" cy="391363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976F5D-47FB-4567-9A4F-E626A189FD72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9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Inteligência e Tecnologia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993A7A-2128-4A6B-A341-CFD1EF2DF75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1475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97C42D-2F34-4310-9B77-4F4CAE455B54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9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Inteligência e Tecnologia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993A7A-2128-4A6B-A341-CFD1EF2DF75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143110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97C42D-2F34-4310-9B77-4F4CAE455B54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9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Inteligência e Tecnologia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993A7A-2128-4A6B-A341-CFD1EF2DF75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1221317" y="2129853"/>
            <a:ext cx="3200400" cy="3657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5655734" y="2129853"/>
            <a:ext cx="3200400" cy="3657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1221317" y="2129853"/>
            <a:ext cx="3200400" cy="2286000"/>
          </a:xfrm>
        </p:spPr>
        <p:txBody>
          <a:bodyPr/>
          <a:lstStyle/>
          <a:p>
            <a:endParaRPr lang="en-US"/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5655734" y="2129853"/>
            <a:ext cx="3200400" cy="2286000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Content Placeholder 15"/>
          <p:cNvSpPr>
            <a:spLocks noGrp="1"/>
          </p:cNvSpPr>
          <p:nvPr>
            <p:ph sz="quarter" idx="15" hasCustomPrompt="1"/>
          </p:nvPr>
        </p:nvSpPr>
        <p:spPr>
          <a:xfrm>
            <a:off x="1221317" y="4505517"/>
            <a:ext cx="3200400" cy="320040"/>
          </a:xfrm>
        </p:spPr>
        <p:txBody>
          <a:bodyPr anchor="ctr">
            <a:noAutofit/>
          </a:bodyPr>
          <a:lstStyle>
            <a:lvl1pPr marL="0" indent="0" algn="ctr">
              <a:buNone/>
              <a:defRPr lang="en-US" sz="2000" dirty="0">
                <a:solidFill>
                  <a:schemeClr val="bg1"/>
                </a:solidFill>
                <a:latin typeface="+mj-lt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11" name="Content Placeholder 15"/>
          <p:cNvSpPr>
            <a:spLocks noGrp="1"/>
          </p:cNvSpPr>
          <p:nvPr>
            <p:ph sz="quarter" idx="16" hasCustomPrompt="1"/>
          </p:nvPr>
        </p:nvSpPr>
        <p:spPr>
          <a:xfrm>
            <a:off x="1221317" y="4825557"/>
            <a:ext cx="3200400" cy="274320"/>
          </a:xfrm>
        </p:spPr>
        <p:txBody>
          <a:bodyPr anchor="t">
            <a:normAutofit/>
          </a:bodyPr>
          <a:lstStyle>
            <a:lvl1pPr marL="0" indent="0" algn="ctr">
              <a:buNone/>
              <a:defRPr sz="1200" cap="none" baseline="0">
                <a:solidFill>
                  <a:schemeClr val="bg1"/>
                </a:solidFill>
                <a:latin typeface="+mn-lt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2" name="Content Placeholder 15"/>
          <p:cNvSpPr>
            <a:spLocks noGrp="1"/>
          </p:cNvSpPr>
          <p:nvPr>
            <p:ph sz="quarter" idx="17" hasCustomPrompt="1"/>
          </p:nvPr>
        </p:nvSpPr>
        <p:spPr>
          <a:xfrm>
            <a:off x="5655734" y="4505517"/>
            <a:ext cx="3200400" cy="320040"/>
          </a:xfrm>
        </p:spPr>
        <p:txBody>
          <a:bodyPr anchor="ctr">
            <a:noAutofit/>
          </a:bodyPr>
          <a:lstStyle>
            <a:lvl1pPr marL="0" indent="0" algn="ctr">
              <a:buNone/>
              <a:defRPr lang="en-US" sz="2000" dirty="0">
                <a:solidFill>
                  <a:schemeClr val="bg1"/>
                </a:solidFill>
                <a:latin typeface="+mj-lt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13" name="Content Placeholder 15"/>
          <p:cNvSpPr>
            <a:spLocks noGrp="1"/>
          </p:cNvSpPr>
          <p:nvPr>
            <p:ph sz="quarter" idx="18" hasCustomPrompt="1"/>
          </p:nvPr>
        </p:nvSpPr>
        <p:spPr>
          <a:xfrm>
            <a:off x="5655734" y="4825557"/>
            <a:ext cx="3200400" cy="274320"/>
          </a:xfrm>
        </p:spPr>
        <p:txBody>
          <a:bodyPr anchor="t">
            <a:normAutofit/>
          </a:bodyPr>
          <a:lstStyle>
            <a:lvl1pPr marL="0" indent="0" algn="ctr">
              <a:buNone/>
              <a:defRPr sz="1200" cap="none" baseline="0">
                <a:solidFill>
                  <a:schemeClr val="bg1"/>
                </a:solidFill>
                <a:latin typeface="+mn-lt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4" name="Content Placeholder 15"/>
          <p:cNvSpPr>
            <a:spLocks noGrp="1"/>
          </p:cNvSpPr>
          <p:nvPr>
            <p:ph sz="quarter" idx="19" hasCustomPrompt="1"/>
          </p:nvPr>
        </p:nvSpPr>
        <p:spPr>
          <a:xfrm>
            <a:off x="1221317" y="5103429"/>
            <a:ext cx="3200400" cy="274320"/>
          </a:xfrm>
        </p:spPr>
        <p:txBody>
          <a:bodyPr anchor="t">
            <a:normAutofit/>
          </a:bodyPr>
          <a:lstStyle>
            <a:lvl1pPr marL="0" indent="0" algn="ctr">
              <a:buNone/>
              <a:defRPr sz="1200" cap="none" baseline="0">
                <a:solidFill>
                  <a:schemeClr val="bg1"/>
                </a:solidFill>
                <a:latin typeface="+mn-lt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Email</a:t>
            </a:r>
          </a:p>
        </p:txBody>
      </p:sp>
      <p:sp>
        <p:nvSpPr>
          <p:cNvPr id="15" name="Content Placeholder 15"/>
          <p:cNvSpPr>
            <a:spLocks noGrp="1"/>
          </p:cNvSpPr>
          <p:nvPr>
            <p:ph sz="quarter" idx="20" hasCustomPrompt="1"/>
          </p:nvPr>
        </p:nvSpPr>
        <p:spPr>
          <a:xfrm>
            <a:off x="5655734" y="5103429"/>
            <a:ext cx="3200400" cy="274320"/>
          </a:xfrm>
        </p:spPr>
        <p:txBody>
          <a:bodyPr anchor="t">
            <a:normAutofit/>
          </a:bodyPr>
          <a:lstStyle>
            <a:lvl1pPr marL="0" indent="0" algn="ctr">
              <a:buNone/>
              <a:defRPr sz="1200" cap="none" baseline="0">
                <a:solidFill>
                  <a:schemeClr val="bg1"/>
                </a:solidFill>
                <a:latin typeface="+mn-lt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Email</a:t>
            </a:r>
          </a:p>
        </p:txBody>
      </p:sp>
    </p:spTree>
    <p:extLst>
      <p:ext uri="{BB962C8B-B14F-4D97-AF65-F5344CB8AC3E}">
        <p14:creationId xmlns:p14="http://schemas.microsoft.com/office/powerpoint/2010/main" val="98497512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97C42D-2F34-4310-9B77-4F4CAE455B54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9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Inteligência e Tecnologia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993A7A-2128-4A6B-A341-CFD1EF2DF75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1221317" y="1766996"/>
            <a:ext cx="3200400" cy="3657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5655734" y="1766996"/>
            <a:ext cx="3200400" cy="3657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1221317" y="1766996"/>
            <a:ext cx="3200400" cy="2286000"/>
          </a:xfrm>
        </p:spPr>
        <p:txBody>
          <a:bodyPr/>
          <a:lstStyle/>
          <a:p>
            <a:endParaRPr lang="en-US"/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5655734" y="1766996"/>
            <a:ext cx="3200400" cy="2286000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Content Placeholder 15"/>
          <p:cNvSpPr>
            <a:spLocks noGrp="1"/>
          </p:cNvSpPr>
          <p:nvPr>
            <p:ph sz="quarter" idx="15" hasCustomPrompt="1"/>
          </p:nvPr>
        </p:nvSpPr>
        <p:spPr>
          <a:xfrm>
            <a:off x="1221317" y="4142660"/>
            <a:ext cx="3200400" cy="320040"/>
          </a:xfrm>
        </p:spPr>
        <p:txBody>
          <a:bodyPr anchor="ctr">
            <a:noAutofit/>
          </a:bodyPr>
          <a:lstStyle>
            <a:lvl1pPr marL="0" indent="0" algn="ctr">
              <a:buNone/>
              <a:defRPr lang="en-US" sz="2000" dirty="0">
                <a:solidFill>
                  <a:schemeClr val="bg1"/>
                </a:solidFill>
                <a:latin typeface="+mj-lt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11" name="Content Placeholder 15"/>
          <p:cNvSpPr>
            <a:spLocks noGrp="1"/>
          </p:cNvSpPr>
          <p:nvPr>
            <p:ph sz="quarter" idx="16" hasCustomPrompt="1"/>
          </p:nvPr>
        </p:nvSpPr>
        <p:spPr>
          <a:xfrm>
            <a:off x="1221317" y="4462700"/>
            <a:ext cx="3200400" cy="274320"/>
          </a:xfrm>
        </p:spPr>
        <p:txBody>
          <a:bodyPr anchor="t">
            <a:normAutofit/>
          </a:bodyPr>
          <a:lstStyle>
            <a:lvl1pPr marL="0" indent="0" algn="ctr">
              <a:buNone/>
              <a:defRPr sz="1200" cap="none" baseline="0">
                <a:solidFill>
                  <a:schemeClr val="bg1"/>
                </a:solidFill>
                <a:latin typeface="+mn-lt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2" name="Content Placeholder 15"/>
          <p:cNvSpPr>
            <a:spLocks noGrp="1"/>
          </p:cNvSpPr>
          <p:nvPr>
            <p:ph sz="quarter" idx="17" hasCustomPrompt="1"/>
          </p:nvPr>
        </p:nvSpPr>
        <p:spPr>
          <a:xfrm>
            <a:off x="5655734" y="4142660"/>
            <a:ext cx="3200400" cy="320040"/>
          </a:xfrm>
        </p:spPr>
        <p:txBody>
          <a:bodyPr anchor="ctr">
            <a:noAutofit/>
          </a:bodyPr>
          <a:lstStyle>
            <a:lvl1pPr marL="0" indent="0" algn="ctr">
              <a:buNone/>
              <a:defRPr lang="en-US" sz="2000" dirty="0">
                <a:solidFill>
                  <a:schemeClr val="bg1"/>
                </a:solidFill>
                <a:latin typeface="+mj-lt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13" name="Content Placeholder 15"/>
          <p:cNvSpPr>
            <a:spLocks noGrp="1"/>
          </p:cNvSpPr>
          <p:nvPr>
            <p:ph sz="quarter" idx="18" hasCustomPrompt="1"/>
          </p:nvPr>
        </p:nvSpPr>
        <p:spPr>
          <a:xfrm>
            <a:off x="5655734" y="4462700"/>
            <a:ext cx="3200400" cy="274320"/>
          </a:xfrm>
        </p:spPr>
        <p:txBody>
          <a:bodyPr anchor="t">
            <a:normAutofit/>
          </a:bodyPr>
          <a:lstStyle>
            <a:lvl1pPr marL="0" indent="0" algn="ctr">
              <a:buNone/>
              <a:defRPr sz="1200" cap="none" baseline="0">
                <a:solidFill>
                  <a:schemeClr val="bg1"/>
                </a:solidFill>
                <a:latin typeface="+mn-lt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4" name="Content Placeholder 15"/>
          <p:cNvSpPr>
            <a:spLocks noGrp="1"/>
          </p:cNvSpPr>
          <p:nvPr>
            <p:ph sz="quarter" idx="19" hasCustomPrompt="1"/>
          </p:nvPr>
        </p:nvSpPr>
        <p:spPr>
          <a:xfrm>
            <a:off x="1221317" y="4740572"/>
            <a:ext cx="3200400" cy="274320"/>
          </a:xfrm>
        </p:spPr>
        <p:txBody>
          <a:bodyPr anchor="t">
            <a:normAutofit/>
          </a:bodyPr>
          <a:lstStyle>
            <a:lvl1pPr marL="0" indent="0" algn="ctr">
              <a:buNone/>
              <a:defRPr sz="1200" cap="none" baseline="0">
                <a:solidFill>
                  <a:schemeClr val="bg1"/>
                </a:solidFill>
                <a:latin typeface="+mn-lt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Email</a:t>
            </a:r>
          </a:p>
        </p:txBody>
      </p:sp>
      <p:sp>
        <p:nvSpPr>
          <p:cNvPr id="15" name="Content Placeholder 15"/>
          <p:cNvSpPr>
            <a:spLocks noGrp="1"/>
          </p:cNvSpPr>
          <p:nvPr>
            <p:ph sz="quarter" idx="20" hasCustomPrompt="1"/>
          </p:nvPr>
        </p:nvSpPr>
        <p:spPr>
          <a:xfrm>
            <a:off x="5655734" y="4740572"/>
            <a:ext cx="3200400" cy="274320"/>
          </a:xfrm>
        </p:spPr>
        <p:txBody>
          <a:bodyPr anchor="t">
            <a:normAutofit/>
          </a:bodyPr>
          <a:lstStyle>
            <a:lvl1pPr marL="0" indent="0" algn="ctr">
              <a:buNone/>
              <a:defRPr sz="1200" cap="none" baseline="0">
                <a:solidFill>
                  <a:schemeClr val="bg1"/>
                </a:solidFill>
                <a:latin typeface="+mn-lt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Email</a:t>
            </a:r>
          </a:p>
        </p:txBody>
      </p:sp>
    </p:spTree>
    <p:extLst>
      <p:ext uri="{BB962C8B-B14F-4D97-AF65-F5344CB8AC3E}">
        <p14:creationId xmlns:p14="http://schemas.microsoft.com/office/powerpoint/2010/main" val="1479585718"/>
      </p:ext>
    </p:extLst>
  </p:cSld>
  <p:clrMapOvr>
    <a:masterClrMapping/>
  </p:clrMapOvr>
  <p:hf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97C42D-2F34-4310-9B77-4F4CAE455B54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9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Inteligência e Tecnologia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993A7A-2128-4A6B-A341-CFD1EF2DF75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Content Placeholder 15"/>
          <p:cNvSpPr>
            <a:spLocks noGrp="1"/>
          </p:cNvSpPr>
          <p:nvPr>
            <p:ph sz="quarter" idx="15" hasCustomPrompt="1"/>
          </p:nvPr>
        </p:nvSpPr>
        <p:spPr>
          <a:xfrm>
            <a:off x="1608667" y="4717747"/>
            <a:ext cx="2743200" cy="320040"/>
          </a:xfrm>
        </p:spPr>
        <p:txBody>
          <a:bodyPr anchor="ctr">
            <a:noAutofit/>
          </a:bodyPr>
          <a:lstStyle>
            <a:lvl1pPr marL="0" indent="0" algn="ctr">
              <a:buNone/>
              <a:def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11" name="Content Placeholder 15"/>
          <p:cNvSpPr>
            <a:spLocks noGrp="1"/>
          </p:cNvSpPr>
          <p:nvPr>
            <p:ph sz="quarter" idx="16" hasCustomPrompt="1"/>
          </p:nvPr>
        </p:nvSpPr>
        <p:spPr>
          <a:xfrm>
            <a:off x="1608667" y="5037787"/>
            <a:ext cx="2743200" cy="274320"/>
          </a:xfrm>
        </p:spPr>
        <p:txBody>
          <a:bodyPr anchor="t">
            <a:normAutofit/>
          </a:bodyPr>
          <a:lstStyle>
            <a:lvl1pPr marL="0" indent="0" algn="ctr">
              <a:buNone/>
              <a:defRPr sz="1200" cap="none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2" name="Content Placeholder 15"/>
          <p:cNvSpPr>
            <a:spLocks noGrp="1"/>
          </p:cNvSpPr>
          <p:nvPr>
            <p:ph sz="quarter" idx="17" hasCustomPrompt="1"/>
          </p:nvPr>
        </p:nvSpPr>
        <p:spPr>
          <a:xfrm>
            <a:off x="5731934" y="4714195"/>
            <a:ext cx="2743200" cy="320040"/>
          </a:xfrm>
        </p:spPr>
        <p:txBody>
          <a:bodyPr anchor="ctr">
            <a:noAutofit/>
          </a:bodyPr>
          <a:lstStyle>
            <a:lvl1pPr marL="0" indent="0" algn="ctr">
              <a:buNone/>
              <a:def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13" name="Content Placeholder 15"/>
          <p:cNvSpPr>
            <a:spLocks noGrp="1"/>
          </p:cNvSpPr>
          <p:nvPr>
            <p:ph sz="quarter" idx="18" hasCustomPrompt="1"/>
          </p:nvPr>
        </p:nvSpPr>
        <p:spPr>
          <a:xfrm>
            <a:off x="5731934" y="5034235"/>
            <a:ext cx="2743200" cy="274320"/>
          </a:xfrm>
        </p:spPr>
        <p:txBody>
          <a:bodyPr anchor="t">
            <a:normAutofit/>
          </a:bodyPr>
          <a:lstStyle>
            <a:lvl1pPr marL="0" indent="0" algn="ctr">
              <a:buNone/>
              <a:defRPr sz="1200" cap="none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4" name="Content Placeholder 15"/>
          <p:cNvSpPr>
            <a:spLocks noGrp="1"/>
          </p:cNvSpPr>
          <p:nvPr>
            <p:ph sz="quarter" idx="19" hasCustomPrompt="1"/>
          </p:nvPr>
        </p:nvSpPr>
        <p:spPr>
          <a:xfrm>
            <a:off x="1608667" y="5315659"/>
            <a:ext cx="2743200" cy="274320"/>
          </a:xfrm>
        </p:spPr>
        <p:txBody>
          <a:bodyPr anchor="t">
            <a:normAutofit/>
          </a:bodyPr>
          <a:lstStyle>
            <a:lvl1pPr marL="0" indent="0" algn="ctr">
              <a:buNone/>
              <a:defRPr sz="1200" cap="none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Email</a:t>
            </a:r>
          </a:p>
        </p:txBody>
      </p:sp>
      <p:sp>
        <p:nvSpPr>
          <p:cNvPr id="15" name="Content Placeholder 15"/>
          <p:cNvSpPr>
            <a:spLocks noGrp="1"/>
          </p:cNvSpPr>
          <p:nvPr>
            <p:ph sz="quarter" idx="20" hasCustomPrompt="1"/>
          </p:nvPr>
        </p:nvSpPr>
        <p:spPr>
          <a:xfrm>
            <a:off x="5731934" y="5312107"/>
            <a:ext cx="2743200" cy="274320"/>
          </a:xfrm>
        </p:spPr>
        <p:txBody>
          <a:bodyPr anchor="t">
            <a:normAutofit/>
          </a:bodyPr>
          <a:lstStyle>
            <a:lvl1pPr marL="0" indent="0" algn="ctr">
              <a:buNone/>
              <a:defRPr sz="1200" cap="none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Email</a:t>
            </a:r>
          </a:p>
        </p:txBody>
      </p:sp>
    </p:spTree>
    <p:extLst>
      <p:ext uri="{BB962C8B-B14F-4D97-AF65-F5344CB8AC3E}">
        <p14:creationId xmlns:p14="http://schemas.microsoft.com/office/powerpoint/2010/main" val="3052392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85B97D-19F8-4D85-B67C-FB0643A57961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9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Inteligência e Tecnologi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993A7A-2128-4A6B-A341-CFD1EF2DF75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56009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85B97D-19F8-4D85-B67C-FB0643A57961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9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Inteligência e Tecnologi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993A7A-2128-4A6B-A341-CFD1EF2DF75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155204"/>
      </p:ext>
    </p:extLst>
  </p:cSld>
  <p:clrMapOvr>
    <a:masterClrMapping/>
  </p:clrMapOvr>
  <p:hf sldNum="0"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anco com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3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31740" y="239793"/>
            <a:ext cx="9821291" cy="7560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ysClr val="windowText" lastClr="000000"/>
                </a:solidFill>
              </a:defRPr>
            </a:lvl1pPr>
          </a:lstStyle>
          <a:p>
            <a:pPr lvl="0"/>
            <a:r>
              <a:rPr lang="pt-BR"/>
              <a:t>Clique para editar o título mestr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9376757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93261" y="1312296"/>
            <a:ext cx="4114800" cy="473659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75739" y="1312298"/>
            <a:ext cx="4114800" cy="473659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22CBB2-7184-4078-A7AE-E97364FD603B}" type="datetime1">
              <a:rPr lang="en-US" smtClean="0"/>
              <a:t>5/9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nteligência e Tecnologia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993A7A-2128-4A6B-A341-CFD1EF2DF75E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91672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4574" y="383383"/>
            <a:ext cx="8697278" cy="54553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4574" y="1333880"/>
            <a:ext cx="4114800" cy="424158"/>
          </a:xfrm>
        </p:spPr>
        <p:txBody>
          <a:bodyPr anchor="ctr">
            <a:normAutofit/>
          </a:bodyPr>
          <a:lstStyle>
            <a:lvl1pPr marL="0" indent="0">
              <a:buNone/>
              <a:defRPr sz="2000" b="0" cap="all" baseline="0"/>
            </a:lvl1pPr>
            <a:lvl2pPr marL="480060" indent="0">
              <a:buNone/>
              <a:defRPr sz="2100" b="1"/>
            </a:lvl2pPr>
            <a:lvl3pPr marL="960120" indent="0">
              <a:buNone/>
              <a:defRPr sz="1890" b="1"/>
            </a:lvl3pPr>
            <a:lvl4pPr marL="1440180" indent="0">
              <a:buNone/>
              <a:defRPr sz="1680" b="1"/>
            </a:lvl4pPr>
            <a:lvl5pPr marL="1920240" indent="0">
              <a:buNone/>
              <a:defRPr sz="1680" b="1"/>
            </a:lvl5pPr>
            <a:lvl6pPr marL="2400300" indent="0">
              <a:buNone/>
              <a:defRPr sz="1680" b="1"/>
            </a:lvl6pPr>
            <a:lvl7pPr marL="2880360" indent="0">
              <a:buNone/>
              <a:defRPr sz="1680" b="1"/>
            </a:lvl7pPr>
            <a:lvl8pPr marL="3360420" indent="0">
              <a:buNone/>
              <a:defRPr sz="1680" b="1"/>
            </a:lvl8pPr>
            <a:lvl9pPr marL="3840480" indent="0">
              <a:buNone/>
              <a:defRPr sz="168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94576" y="2136084"/>
            <a:ext cx="4114800" cy="391363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275739" y="1333880"/>
            <a:ext cx="4114800" cy="424158"/>
          </a:xfrm>
        </p:spPr>
        <p:txBody>
          <a:bodyPr anchor="ctr">
            <a:normAutofit/>
          </a:bodyPr>
          <a:lstStyle>
            <a:lvl1pPr marL="0" indent="0">
              <a:buNone/>
              <a:defRPr sz="2000" b="0" cap="all" baseline="0"/>
            </a:lvl1pPr>
            <a:lvl2pPr marL="480060" indent="0">
              <a:buNone/>
              <a:defRPr sz="2100" b="1"/>
            </a:lvl2pPr>
            <a:lvl3pPr marL="960120" indent="0">
              <a:buNone/>
              <a:defRPr sz="1890" b="1"/>
            </a:lvl3pPr>
            <a:lvl4pPr marL="1440180" indent="0">
              <a:buNone/>
              <a:defRPr sz="1680" b="1"/>
            </a:lvl4pPr>
            <a:lvl5pPr marL="1920240" indent="0">
              <a:buNone/>
              <a:defRPr sz="1680" b="1"/>
            </a:lvl5pPr>
            <a:lvl6pPr marL="2400300" indent="0">
              <a:buNone/>
              <a:defRPr sz="1680" b="1"/>
            </a:lvl6pPr>
            <a:lvl7pPr marL="2880360" indent="0">
              <a:buNone/>
              <a:defRPr sz="1680" b="1"/>
            </a:lvl7pPr>
            <a:lvl8pPr marL="3360420" indent="0">
              <a:buNone/>
              <a:defRPr sz="1680" b="1"/>
            </a:lvl8pPr>
            <a:lvl9pPr marL="3840480" indent="0">
              <a:buNone/>
              <a:defRPr sz="168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275739" y="2137971"/>
            <a:ext cx="4114800" cy="391363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976F5D-47FB-4567-9A4F-E626A189FD72}" type="datetime1">
              <a:rPr lang="en-US" smtClean="0"/>
              <a:t>5/9/20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nteligência e Tecnologia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993A7A-2128-4A6B-A341-CFD1EF2DF75E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19138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97C42D-2F34-4310-9B77-4F4CAE455B54}" type="datetime1">
              <a:rPr lang="en-US" smtClean="0"/>
              <a:t>5/9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nteligência e Tecnologia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993A7A-2128-4A6B-A341-CFD1EF2DF75E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43870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97C42D-2F34-4310-9B77-4F4CAE455B54}" type="datetime1">
              <a:rPr lang="en-US" smtClean="0"/>
              <a:t>5/9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nteligência e Tecnologia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993A7A-2128-4A6B-A341-CFD1EF2DF75E}" type="slidenum">
              <a:rPr lang="en-US" smtClean="0"/>
              <a:t>‹nº›</a:t>
            </a:fld>
            <a:endParaRPr lang="en-US"/>
          </a:p>
        </p:txBody>
      </p:sp>
      <p:sp>
        <p:nvSpPr>
          <p:cNvPr id="6" name="Rectangle 5"/>
          <p:cNvSpPr/>
          <p:nvPr userDrawn="1"/>
        </p:nvSpPr>
        <p:spPr>
          <a:xfrm>
            <a:off x="1221317" y="2129853"/>
            <a:ext cx="3200400" cy="3657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 userDrawn="1"/>
        </p:nvSpPr>
        <p:spPr>
          <a:xfrm>
            <a:off x="5655734" y="2129853"/>
            <a:ext cx="3200400" cy="3657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1221317" y="2129853"/>
            <a:ext cx="3200400" cy="2286000"/>
          </a:xfrm>
        </p:spPr>
        <p:txBody>
          <a:bodyPr/>
          <a:lstStyle/>
          <a:p>
            <a:endParaRPr lang="en-US"/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5655734" y="2129853"/>
            <a:ext cx="3200400" cy="2286000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Content Placeholder 15"/>
          <p:cNvSpPr>
            <a:spLocks noGrp="1"/>
          </p:cNvSpPr>
          <p:nvPr>
            <p:ph sz="quarter" idx="15" hasCustomPrompt="1"/>
          </p:nvPr>
        </p:nvSpPr>
        <p:spPr>
          <a:xfrm>
            <a:off x="1221317" y="4505517"/>
            <a:ext cx="3200400" cy="320040"/>
          </a:xfrm>
        </p:spPr>
        <p:txBody>
          <a:bodyPr anchor="ctr">
            <a:noAutofit/>
          </a:bodyPr>
          <a:lstStyle>
            <a:lvl1pPr marL="0" indent="0" algn="ctr">
              <a:buNone/>
              <a:defRPr lang="en-US" sz="2000" dirty="0">
                <a:solidFill>
                  <a:schemeClr val="bg1"/>
                </a:solidFill>
                <a:latin typeface="+mj-lt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11" name="Content Placeholder 15"/>
          <p:cNvSpPr>
            <a:spLocks noGrp="1"/>
          </p:cNvSpPr>
          <p:nvPr>
            <p:ph sz="quarter" idx="16" hasCustomPrompt="1"/>
          </p:nvPr>
        </p:nvSpPr>
        <p:spPr>
          <a:xfrm>
            <a:off x="1221317" y="4825557"/>
            <a:ext cx="3200400" cy="274320"/>
          </a:xfrm>
        </p:spPr>
        <p:txBody>
          <a:bodyPr anchor="t">
            <a:normAutofit/>
          </a:bodyPr>
          <a:lstStyle>
            <a:lvl1pPr marL="0" indent="0" algn="ctr">
              <a:buNone/>
              <a:defRPr sz="1200" cap="none" baseline="0">
                <a:solidFill>
                  <a:schemeClr val="bg1"/>
                </a:solidFill>
                <a:latin typeface="+mn-lt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2" name="Content Placeholder 15"/>
          <p:cNvSpPr>
            <a:spLocks noGrp="1"/>
          </p:cNvSpPr>
          <p:nvPr>
            <p:ph sz="quarter" idx="17" hasCustomPrompt="1"/>
          </p:nvPr>
        </p:nvSpPr>
        <p:spPr>
          <a:xfrm>
            <a:off x="5655734" y="4505517"/>
            <a:ext cx="3200400" cy="320040"/>
          </a:xfrm>
        </p:spPr>
        <p:txBody>
          <a:bodyPr anchor="ctr">
            <a:noAutofit/>
          </a:bodyPr>
          <a:lstStyle>
            <a:lvl1pPr marL="0" indent="0" algn="ctr">
              <a:buNone/>
              <a:defRPr lang="en-US" sz="2000" dirty="0">
                <a:solidFill>
                  <a:schemeClr val="bg1"/>
                </a:solidFill>
                <a:latin typeface="+mj-lt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13" name="Content Placeholder 15"/>
          <p:cNvSpPr>
            <a:spLocks noGrp="1"/>
          </p:cNvSpPr>
          <p:nvPr>
            <p:ph sz="quarter" idx="18" hasCustomPrompt="1"/>
          </p:nvPr>
        </p:nvSpPr>
        <p:spPr>
          <a:xfrm>
            <a:off x="5655734" y="4825557"/>
            <a:ext cx="3200400" cy="274320"/>
          </a:xfrm>
        </p:spPr>
        <p:txBody>
          <a:bodyPr anchor="t">
            <a:normAutofit/>
          </a:bodyPr>
          <a:lstStyle>
            <a:lvl1pPr marL="0" indent="0" algn="ctr">
              <a:buNone/>
              <a:defRPr sz="1200" cap="none" baseline="0">
                <a:solidFill>
                  <a:schemeClr val="bg1"/>
                </a:solidFill>
                <a:latin typeface="+mn-lt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4" name="Content Placeholder 15"/>
          <p:cNvSpPr>
            <a:spLocks noGrp="1"/>
          </p:cNvSpPr>
          <p:nvPr>
            <p:ph sz="quarter" idx="19" hasCustomPrompt="1"/>
          </p:nvPr>
        </p:nvSpPr>
        <p:spPr>
          <a:xfrm>
            <a:off x="1221317" y="5103429"/>
            <a:ext cx="3200400" cy="274320"/>
          </a:xfrm>
        </p:spPr>
        <p:txBody>
          <a:bodyPr anchor="t">
            <a:normAutofit/>
          </a:bodyPr>
          <a:lstStyle>
            <a:lvl1pPr marL="0" indent="0" algn="ctr">
              <a:buNone/>
              <a:defRPr sz="1200" cap="none" baseline="0">
                <a:solidFill>
                  <a:schemeClr val="bg1"/>
                </a:solidFill>
                <a:latin typeface="+mn-lt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Email</a:t>
            </a:r>
          </a:p>
        </p:txBody>
      </p:sp>
      <p:sp>
        <p:nvSpPr>
          <p:cNvPr id="15" name="Content Placeholder 15"/>
          <p:cNvSpPr>
            <a:spLocks noGrp="1"/>
          </p:cNvSpPr>
          <p:nvPr>
            <p:ph sz="quarter" idx="20" hasCustomPrompt="1"/>
          </p:nvPr>
        </p:nvSpPr>
        <p:spPr>
          <a:xfrm>
            <a:off x="5655734" y="5103429"/>
            <a:ext cx="3200400" cy="274320"/>
          </a:xfrm>
        </p:spPr>
        <p:txBody>
          <a:bodyPr anchor="t">
            <a:normAutofit/>
          </a:bodyPr>
          <a:lstStyle>
            <a:lvl1pPr marL="0" indent="0" algn="ctr">
              <a:buNone/>
              <a:defRPr sz="1200" cap="none" baseline="0">
                <a:solidFill>
                  <a:schemeClr val="bg1"/>
                </a:solidFill>
                <a:latin typeface="+mn-lt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Email</a:t>
            </a:r>
          </a:p>
        </p:txBody>
      </p:sp>
    </p:spTree>
    <p:extLst>
      <p:ext uri="{BB962C8B-B14F-4D97-AF65-F5344CB8AC3E}">
        <p14:creationId xmlns:p14="http://schemas.microsoft.com/office/powerpoint/2010/main" val="6382013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97C42D-2F34-4310-9B77-4F4CAE455B54}" type="datetime1">
              <a:rPr lang="en-US" smtClean="0"/>
              <a:t>5/9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nteligência e Tecnologia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993A7A-2128-4A6B-A341-CFD1EF2DF75E}" type="slidenum">
              <a:rPr lang="en-US" smtClean="0"/>
              <a:t>‹nº›</a:t>
            </a:fld>
            <a:endParaRPr lang="en-US"/>
          </a:p>
        </p:txBody>
      </p:sp>
      <p:sp>
        <p:nvSpPr>
          <p:cNvPr id="6" name="Rectangle 5"/>
          <p:cNvSpPr/>
          <p:nvPr userDrawn="1"/>
        </p:nvSpPr>
        <p:spPr>
          <a:xfrm>
            <a:off x="1221317" y="1766996"/>
            <a:ext cx="3200400" cy="3657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 userDrawn="1"/>
        </p:nvSpPr>
        <p:spPr>
          <a:xfrm>
            <a:off x="5655734" y="1766996"/>
            <a:ext cx="3200400" cy="3657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1221317" y="1766996"/>
            <a:ext cx="3200400" cy="2286000"/>
          </a:xfrm>
        </p:spPr>
        <p:txBody>
          <a:bodyPr/>
          <a:lstStyle/>
          <a:p>
            <a:endParaRPr lang="en-US"/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5655734" y="1766996"/>
            <a:ext cx="3200400" cy="2286000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Content Placeholder 15"/>
          <p:cNvSpPr>
            <a:spLocks noGrp="1"/>
          </p:cNvSpPr>
          <p:nvPr>
            <p:ph sz="quarter" idx="15" hasCustomPrompt="1"/>
          </p:nvPr>
        </p:nvSpPr>
        <p:spPr>
          <a:xfrm>
            <a:off x="1221317" y="4142660"/>
            <a:ext cx="3200400" cy="320040"/>
          </a:xfrm>
        </p:spPr>
        <p:txBody>
          <a:bodyPr anchor="ctr">
            <a:noAutofit/>
          </a:bodyPr>
          <a:lstStyle>
            <a:lvl1pPr marL="0" indent="0" algn="ctr">
              <a:buNone/>
              <a:defRPr lang="en-US" sz="2000" dirty="0">
                <a:solidFill>
                  <a:schemeClr val="bg1"/>
                </a:solidFill>
                <a:latin typeface="+mj-lt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11" name="Content Placeholder 15"/>
          <p:cNvSpPr>
            <a:spLocks noGrp="1"/>
          </p:cNvSpPr>
          <p:nvPr>
            <p:ph sz="quarter" idx="16" hasCustomPrompt="1"/>
          </p:nvPr>
        </p:nvSpPr>
        <p:spPr>
          <a:xfrm>
            <a:off x="1221317" y="4462700"/>
            <a:ext cx="3200400" cy="274320"/>
          </a:xfrm>
        </p:spPr>
        <p:txBody>
          <a:bodyPr anchor="t">
            <a:normAutofit/>
          </a:bodyPr>
          <a:lstStyle>
            <a:lvl1pPr marL="0" indent="0" algn="ctr">
              <a:buNone/>
              <a:defRPr sz="1200" cap="none" baseline="0">
                <a:solidFill>
                  <a:schemeClr val="bg1"/>
                </a:solidFill>
                <a:latin typeface="+mn-lt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2" name="Content Placeholder 15"/>
          <p:cNvSpPr>
            <a:spLocks noGrp="1"/>
          </p:cNvSpPr>
          <p:nvPr>
            <p:ph sz="quarter" idx="17" hasCustomPrompt="1"/>
          </p:nvPr>
        </p:nvSpPr>
        <p:spPr>
          <a:xfrm>
            <a:off x="5655734" y="4142660"/>
            <a:ext cx="3200400" cy="320040"/>
          </a:xfrm>
        </p:spPr>
        <p:txBody>
          <a:bodyPr anchor="ctr">
            <a:noAutofit/>
          </a:bodyPr>
          <a:lstStyle>
            <a:lvl1pPr marL="0" indent="0" algn="ctr">
              <a:buNone/>
              <a:defRPr lang="en-US" sz="2000" dirty="0">
                <a:solidFill>
                  <a:schemeClr val="bg1"/>
                </a:solidFill>
                <a:latin typeface="+mj-lt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13" name="Content Placeholder 15"/>
          <p:cNvSpPr>
            <a:spLocks noGrp="1"/>
          </p:cNvSpPr>
          <p:nvPr>
            <p:ph sz="quarter" idx="18" hasCustomPrompt="1"/>
          </p:nvPr>
        </p:nvSpPr>
        <p:spPr>
          <a:xfrm>
            <a:off x="5655734" y="4462700"/>
            <a:ext cx="3200400" cy="274320"/>
          </a:xfrm>
        </p:spPr>
        <p:txBody>
          <a:bodyPr anchor="t">
            <a:normAutofit/>
          </a:bodyPr>
          <a:lstStyle>
            <a:lvl1pPr marL="0" indent="0" algn="ctr">
              <a:buNone/>
              <a:defRPr sz="1200" cap="none" baseline="0">
                <a:solidFill>
                  <a:schemeClr val="bg1"/>
                </a:solidFill>
                <a:latin typeface="+mn-lt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4" name="Content Placeholder 15"/>
          <p:cNvSpPr>
            <a:spLocks noGrp="1"/>
          </p:cNvSpPr>
          <p:nvPr>
            <p:ph sz="quarter" idx="19" hasCustomPrompt="1"/>
          </p:nvPr>
        </p:nvSpPr>
        <p:spPr>
          <a:xfrm>
            <a:off x="1221317" y="4740572"/>
            <a:ext cx="3200400" cy="274320"/>
          </a:xfrm>
        </p:spPr>
        <p:txBody>
          <a:bodyPr anchor="t">
            <a:normAutofit/>
          </a:bodyPr>
          <a:lstStyle>
            <a:lvl1pPr marL="0" indent="0" algn="ctr">
              <a:buNone/>
              <a:defRPr sz="1200" cap="none" baseline="0">
                <a:solidFill>
                  <a:schemeClr val="bg1"/>
                </a:solidFill>
                <a:latin typeface="+mn-lt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Email</a:t>
            </a:r>
          </a:p>
        </p:txBody>
      </p:sp>
      <p:sp>
        <p:nvSpPr>
          <p:cNvPr id="15" name="Content Placeholder 15"/>
          <p:cNvSpPr>
            <a:spLocks noGrp="1"/>
          </p:cNvSpPr>
          <p:nvPr>
            <p:ph sz="quarter" idx="20" hasCustomPrompt="1"/>
          </p:nvPr>
        </p:nvSpPr>
        <p:spPr>
          <a:xfrm>
            <a:off x="5655734" y="4740572"/>
            <a:ext cx="3200400" cy="274320"/>
          </a:xfrm>
        </p:spPr>
        <p:txBody>
          <a:bodyPr anchor="t">
            <a:normAutofit/>
          </a:bodyPr>
          <a:lstStyle>
            <a:lvl1pPr marL="0" indent="0" algn="ctr">
              <a:buNone/>
              <a:defRPr sz="1200" cap="none" baseline="0">
                <a:solidFill>
                  <a:schemeClr val="bg1"/>
                </a:solidFill>
                <a:latin typeface="+mn-lt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Email</a:t>
            </a:r>
          </a:p>
        </p:txBody>
      </p:sp>
    </p:spTree>
    <p:extLst>
      <p:ext uri="{BB962C8B-B14F-4D97-AF65-F5344CB8AC3E}">
        <p14:creationId xmlns:p14="http://schemas.microsoft.com/office/powerpoint/2010/main" val="2400895462"/>
      </p:ext>
    </p:extLst>
  </p:cSld>
  <p:clrMapOvr>
    <a:masterClrMapping/>
  </p:clrMapOvr>
  <p:hf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97C42D-2F34-4310-9B77-4F4CAE455B54}" type="datetime1">
              <a:rPr lang="en-US" smtClean="0"/>
              <a:t>5/9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nteligência e Tecnologia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993A7A-2128-4A6B-A341-CFD1EF2DF75E}" type="slidenum">
              <a:rPr lang="en-US" smtClean="0"/>
              <a:t>‹nº›</a:t>
            </a:fld>
            <a:endParaRPr lang="en-US"/>
          </a:p>
        </p:txBody>
      </p:sp>
      <p:sp>
        <p:nvSpPr>
          <p:cNvPr id="10" name="Content Placeholder 15"/>
          <p:cNvSpPr>
            <a:spLocks noGrp="1"/>
          </p:cNvSpPr>
          <p:nvPr>
            <p:ph sz="quarter" idx="15" hasCustomPrompt="1"/>
          </p:nvPr>
        </p:nvSpPr>
        <p:spPr>
          <a:xfrm>
            <a:off x="1608667" y="4717747"/>
            <a:ext cx="2743200" cy="320040"/>
          </a:xfrm>
        </p:spPr>
        <p:txBody>
          <a:bodyPr anchor="ctr">
            <a:noAutofit/>
          </a:bodyPr>
          <a:lstStyle>
            <a:lvl1pPr marL="0" indent="0" algn="ctr">
              <a:buNone/>
              <a:def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11" name="Content Placeholder 15"/>
          <p:cNvSpPr>
            <a:spLocks noGrp="1"/>
          </p:cNvSpPr>
          <p:nvPr>
            <p:ph sz="quarter" idx="16" hasCustomPrompt="1"/>
          </p:nvPr>
        </p:nvSpPr>
        <p:spPr>
          <a:xfrm>
            <a:off x="1608667" y="5037787"/>
            <a:ext cx="2743200" cy="274320"/>
          </a:xfrm>
        </p:spPr>
        <p:txBody>
          <a:bodyPr anchor="t">
            <a:normAutofit/>
          </a:bodyPr>
          <a:lstStyle>
            <a:lvl1pPr marL="0" indent="0" algn="ctr">
              <a:buNone/>
              <a:defRPr sz="1200" cap="none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2" name="Content Placeholder 15"/>
          <p:cNvSpPr>
            <a:spLocks noGrp="1"/>
          </p:cNvSpPr>
          <p:nvPr>
            <p:ph sz="quarter" idx="17" hasCustomPrompt="1"/>
          </p:nvPr>
        </p:nvSpPr>
        <p:spPr>
          <a:xfrm>
            <a:off x="5731934" y="4714195"/>
            <a:ext cx="2743200" cy="320040"/>
          </a:xfrm>
        </p:spPr>
        <p:txBody>
          <a:bodyPr anchor="ctr">
            <a:noAutofit/>
          </a:bodyPr>
          <a:lstStyle>
            <a:lvl1pPr marL="0" indent="0" algn="ctr">
              <a:buNone/>
              <a:def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13" name="Content Placeholder 15"/>
          <p:cNvSpPr>
            <a:spLocks noGrp="1"/>
          </p:cNvSpPr>
          <p:nvPr>
            <p:ph sz="quarter" idx="18" hasCustomPrompt="1"/>
          </p:nvPr>
        </p:nvSpPr>
        <p:spPr>
          <a:xfrm>
            <a:off x="5731934" y="5034235"/>
            <a:ext cx="2743200" cy="274320"/>
          </a:xfrm>
        </p:spPr>
        <p:txBody>
          <a:bodyPr anchor="t">
            <a:normAutofit/>
          </a:bodyPr>
          <a:lstStyle>
            <a:lvl1pPr marL="0" indent="0" algn="ctr">
              <a:buNone/>
              <a:defRPr sz="1200" cap="none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4" name="Content Placeholder 15"/>
          <p:cNvSpPr>
            <a:spLocks noGrp="1"/>
          </p:cNvSpPr>
          <p:nvPr>
            <p:ph sz="quarter" idx="19" hasCustomPrompt="1"/>
          </p:nvPr>
        </p:nvSpPr>
        <p:spPr>
          <a:xfrm>
            <a:off x="1608667" y="5315659"/>
            <a:ext cx="2743200" cy="274320"/>
          </a:xfrm>
        </p:spPr>
        <p:txBody>
          <a:bodyPr anchor="t">
            <a:normAutofit/>
          </a:bodyPr>
          <a:lstStyle>
            <a:lvl1pPr marL="0" indent="0" algn="ctr">
              <a:buNone/>
              <a:defRPr sz="1200" cap="none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Email</a:t>
            </a:r>
          </a:p>
        </p:txBody>
      </p:sp>
      <p:sp>
        <p:nvSpPr>
          <p:cNvPr id="15" name="Content Placeholder 15"/>
          <p:cNvSpPr>
            <a:spLocks noGrp="1"/>
          </p:cNvSpPr>
          <p:nvPr>
            <p:ph sz="quarter" idx="20" hasCustomPrompt="1"/>
          </p:nvPr>
        </p:nvSpPr>
        <p:spPr>
          <a:xfrm>
            <a:off x="5731934" y="5312107"/>
            <a:ext cx="2743200" cy="274320"/>
          </a:xfrm>
        </p:spPr>
        <p:txBody>
          <a:bodyPr anchor="t">
            <a:normAutofit/>
          </a:bodyPr>
          <a:lstStyle>
            <a:lvl1pPr marL="0" indent="0" algn="ctr">
              <a:buNone/>
              <a:defRPr sz="1200" cap="none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Email</a:t>
            </a:r>
          </a:p>
        </p:txBody>
      </p:sp>
    </p:spTree>
    <p:extLst>
      <p:ext uri="{BB962C8B-B14F-4D97-AF65-F5344CB8AC3E}">
        <p14:creationId xmlns:p14="http://schemas.microsoft.com/office/powerpoint/2010/main" val="1268987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85B97D-19F8-4D85-B67C-FB0643A57961}" type="datetime1">
              <a:rPr lang="en-US" smtClean="0"/>
              <a:t>5/9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nteligência e Tecnologi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993A7A-2128-4A6B-A341-CFD1EF2DF75E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755345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85B97D-19F8-4D85-B67C-FB0643A57961}" type="datetime1">
              <a:rPr lang="en-US" smtClean="0"/>
              <a:t>5/9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nteligência e Tecnologi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993A7A-2128-4A6B-A341-CFD1EF2DF75E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7534363"/>
      </p:ext>
    </p:extLst>
  </p:cSld>
  <p:clrMapOvr>
    <a:masterClrMapping/>
  </p:clrMapOvr>
  <p:hf sldNum="0"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4.xml"/><Relationship Id="rId10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93261" y="383383"/>
            <a:ext cx="8697278" cy="54553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3261" y="1312297"/>
            <a:ext cx="8697278" cy="47384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763250" y="6434136"/>
            <a:ext cx="914399" cy="383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6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FF8E3BB-FAA0-46C4-8B5C-BAD216F69ED6}" type="datetime1">
              <a:rPr lang="en-US" smtClean="0"/>
              <a:t>5/9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53273" y="6434136"/>
            <a:ext cx="3403283" cy="383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6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Inteligência e Tecnologia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984343" y="6434136"/>
            <a:ext cx="406196" cy="383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6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D993A7A-2128-4A6B-A341-CFD1EF2DF75E}" type="slidenum">
              <a:rPr lang="en-US" smtClean="0"/>
              <a:pPr/>
              <a:t>‹nº›</a:t>
            </a:fld>
            <a:endParaRPr lang="en-US"/>
          </a:p>
        </p:txBody>
      </p:sp>
      <p:pic>
        <p:nvPicPr>
          <p:cNvPr id="8" name="Imagem 8"/>
          <p:cNvPicPr>
            <a:picLocks noChangeAspect="1"/>
          </p:cNvPicPr>
          <p:nvPr userDrawn="1"/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30354" y="6156544"/>
            <a:ext cx="2383817" cy="9385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2243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6" r:id="rId2"/>
    <p:sldLayoutId id="2147483677" r:id="rId3"/>
    <p:sldLayoutId id="2147483678" r:id="rId4"/>
    <p:sldLayoutId id="2147483683" r:id="rId5"/>
    <p:sldLayoutId id="2147483681" r:id="rId6"/>
    <p:sldLayoutId id="2147483682" r:id="rId7"/>
    <p:sldLayoutId id="2147483679" r:id="rId8"/>
    <p:sldLayoutId id="2147483680" r:id="rId9"/>
  </p:sldLayoutIdLst>
  <p:hf hdr="0" dt="0"/>
  <p:txStyles>
    <p:titleStyle>
      <a:lvl1pPr algn="ctr" defTabSz="960120" rtl="0" eaLnBrk="1" latinLnBrk="0" hangingPunct="1">
        <a:lnSpc>
          <a:spcPct val="90000"/>
        </a:lnSpc>
        <a:spcBef>
          <a:spcPct val="0"/>
        </a:spcBef>
        <a:buNone/>
        <a:defRPr sz="3000" kern="1200" cap="all" baseline="0">
          <a:solidFill>
            <a:schemeClr val="tx1">
              <a:lumMod val="50000"/>
              <a:lumOff val="50000"/>
            </a:schemeClr>
          </a:solidFill>
          <a:latin typeface="+mj-lt"/>
          <a:ea typeface="+mj-ea"/>
          <a:cs typeface="+mj-cs"/>
        </a:defRPr>
      </a:lvl1pPr>
    </p:titleStyle>
    <p:bodyStyle>
      <a:lvl1pPr marL="240030" indent="-240030" algn="l" defTabSz="960120" rtl="0" eaLnBrk="1" latinLnBrk="0" hangingPunct="1">
        <a:lnSpc>
          <a:spcPct val="90000"/>
        </a:lnSpc>
        <a:spcBef>
          <a:spcPts val="1050"/>
        </a:spcBef>
        <a:buFont typeface="Arial" panose="020B0604020202020204" pitchFamily="34" charset="0"/>
        <a:buChar char="•"/>
        <a:defRPr sz="15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1pPr>
      <a:lvl2pPr marL="720090" indent="-240030" algn="l" defTabSz="960120" rtl="0" eaLnBrk="1" latinLnBrk="0" hangingPunct="1">
        <a:lnSpc>
          <a:spcPct val="90000"/>
        </a:lnSpc>
        <a:spcBef>
          <a:spcPts val="525"/>
        </a:spcBef>
        <a:buFont typeface="Arial" panose="020B0604020202020204" pitchFamily="34" charset="0"/>
        <a:buChar char="•"/>
        <a:defRPr sz="14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2pPr>
      <a:lvl3pPr marL="1200150" indent="-240030" algn="l" defTabSz="960120" rtl="0" eaLnBrk="1" latinLnBrk="0" hangingPunct="1">
        <a:lnSpc>
          <a:spcPct val="90000"/>
        </a:lnSpc>
        <a:spcBef>
          <a:spcPts val="525"/>
        </a:spcBef>
        <a:buFont typeface="Arial" panose="020B0604020202020204" pitchFamily="34" charset="0"/>
        <a:buChar char="•"/>
        <a:defRPr sz="13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3pPr>
      <a:lvl4pPr marL="1680210" indent="-240030" algn="l" defTabSz="960120" rtl="0" eaLnBrk="1" latinLnBrk="0" hangingPunct="1">
        <a:lnSpc>
          <a:spcPct val="90000"/>
        </a:lnSpc>
        <a:spcBef>
          <a:spcPts val="525"/>
        </a:spcBef>
        <a:buFont typeface="Arial" panose="020B0604020202020204" pitchFamily="34" charset="0"/>
        <a:buChar char="•"/>
        <a:defRPr sz="13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4pPr>
      <a:lvl5pPr marL="2160270" indent="-240030" algn="l" defTabSz="960120" rtl="0" eaLnBrk="1" latinLnBrk="0" hangingPunct="1">
        <a:lnSpc>
          <a:spcPct val="90000"/>
        </a:lnSpc>
        <a:spcBef>
          <a:spcPts val="525"/>
        </a:spcBef>
        <a:buFont typeface="Arial" panose="020B0604020202020204" pitchFamily="34" charset="0"/>
        <a:buChar char="•"/>
        <a:defRPr sz="13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5pPr>
      <a:lvl6pPr marL="2640330" indent="-240030" algn="l" defTabSz="960120" rtl="0" eaLnBrk="1" latinLnBrk="0" hangingPunct="1">
        <a:lnSpc>
          <a:spcPct val="90000"/>
        </a:lnSpc>
        <a:spcBef>
          <a:spcPts val="525"/>
        </a:spcBef>
        <a:buFont typeface="Arial" panose="020B060402020202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6pPr>
      <a:lvl7pPr marL="3120390" indent="-240030" algn="l" defTabSz="960120" rtl="0" eaLnBrk="1" latinLnBrk="0" hangingPunct="1">
        <a:lnSpc>
          <a:spcPct val="90000"/>
        </a:lnSpc>
        <a:spcBef>
          <a:spcPts val="525"/>
        </a:spcBef>
        <a:buFont typeface="Arial" panose="020B060402020202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7pPr>
      <a:lvl8pPr marL="3600450" indent="-240030" algn="l" defTabSz="960120" rtl="0" eaLnBrk="1" latinLnBrk="0" hangingPunct="1">
        <a:lnSpc>
          <a:spcPct val="90000"/>
        </a:lnSpc>
        <a:spcBef>
          <a:spcPts val="525"/>
        </a:spcBef>
        <a:buFont typeface="Arial" panose="020B060402020202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8pPr>
      <a:lvl9pPr marL="4080510" indent="-240030" algn="l" defTabSz="960120" rtl="0" eaLnBrk="1" latinLnBrk="0" hangingPunct="1">
        <a:lnSpc>
          <a:spcPct val="90000"/>
        </a:lnSpc>
        <a:spcBef>
          <a:spcPts val="525"/>
        </a:spcBef>
        <a:buFont typeface="Arial" panose="020B060402020202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0120" rtl="0" eaLnBrk="1" latinLnBrk="0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1pPr>
      <a:lvl2pPr marL="480060" algn="l" defTabSz="960120" rtl="0" eaLnBrk="1" latinLnBrk="0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2pPr>
      <a:lvl3pPr marL="960120" algn="l" defTabSz="960120" rtl="0" eaLnBrk="1" latinLnBrk="0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3pPr>
      <a:lvl4pPr marL="1440180" algn="l" defTabSz="960120" rtl="0" eaLnBrk="1" latinLnBrk="0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4pPr>
      <a:lvl5pPr marL="1920240" algn="l" defTabSz="960120" rtl="0" eaLnBrk="1" latinLnBrk="0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5pPr>
      <a:lvl6pPr marL="2400300" algn="l" defTabSz="960120" rtl="0" eaLnBrk="1" latinLnBrk="0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6pPr>
      <a:lvl7pPr marL="2880360" algn="l" defTabSz="960120" rtl="0" eaLnBrk="1" latinLnBrk="0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7pPr>
      <a:lvl8pPr marL="3360420" algn="l" defTabSz="960120" rtl="0" eaLnBrk="1" latinLnBrk="0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8pPr>
      <a:lvl9pPr marL="3840480" algn="l" defTabSz="960120" rtl="0" eaLnBrk="1" latinLnBrk="0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93261" y="383383"/>
            <a:ext cx="8697278" cy="54553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3261" y="1312297"/>
            <a:ext cx="8697278" cy="47384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763250" y="6434136"/>
            <a:ext cx="914399" cy="383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6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FF8E3BB-FAA0-46C4-8B5C-BAD216F69ED6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9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53273" y="6434136"/>
            <a:ext cx="3403283" cy="383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6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Inteligência e Tecnologia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984343" y="6434136"/>
            <a:ext cx="406196" cy="383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6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D993A7A-2128-4A6B-A341-CFD1EF2DF75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Imagem 8"/>
          <p:cNvPicPr>
            <a:picLocks noChangeAspect="1"/>
          </p:cNvPicPr>
          <p:nvPr userDrawn="1"/>
        </p:nvPicPr>
        <p:blipFill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30354" y="6156544"/>
            <a:ext cx="2383817" cy="9385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22893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</p:sldLayoutIdLst>
  <p:hf hdr="0" dt="0"/>
  <p:txStyles>
    <p:titleStyle>
      <a:lvl1pPr algn="ctr" defTabSz="960120" rtl="0" eaLnBrk="1" latinLnBrk="0" hangingPunct="1">
        <a:lnSpc>
          <a:spcPct val="90000"/>
        </a:lnSpc>
        <a:spcBef>
          <a:spcPct val="0"/>
        </a:spcBef>
        <a:buNone/>
        <a:defRPr sz="3000" kern="1200" cap="all" baseline="0">
          <a:solidFill>
            <a:schemeClr val="tx1">
              <a:lumMod val="50000"/>
              <a:lumOff val="50000"/>
            </a:schemeClr>
          </a:solidFill>
          <a:latin typeface="+mj-lt"/>
          <a:ea typeface="+mj-ea"/>
          <a:cs typeface="+mj-cs"/>
        </a:defRPr>
      </a:lvl1pPr>
    </p:titleStyle>
    <p:bodyStyle>
      <a:lvl1pPr marL="240030" indent="-240030" algn="l" defTabSz="960120" rtl="0" eaLnBrk="1" latinLnBrk="0" hangingPunct="1">
        <a:lnSpc>
          <a:spcPct val="90000"/>
        </a:lnSpc>
        <a:spcBef>
          <a:spcPts val="1050"/>
        </a:spcBef>
        <a:buFont typeface="Arial" panose="020B0604020202020204" pitchFamily="34" charset="0"/>
        <a:buChar char="•"/>
        <a:defRPr sz="15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1pPr>
      <a:lvl2pPr marL="720090" indent="-240030" algn="l" defTabSz="960120" rtl="0" eaLnBrk="1" latinLnBrk="0" hangingPunct="1">
        <a:lnSpc>
          <a:spcPct val="90000"/>
        </a:lnSpc>
        <a:spcBef>
          <a:spcPts val="525"/>
        </a:spcBef>
        <a:buFont typeface="Arial" panose="020B0604020202020204" pitchFamily="34" charset="0"/>
        <a:buChar char="•"/>
        <a:defRPr sz="14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2pPr>
      <a:lvl3pPr marL="1200150" indent="-240030" algn="l" defTabSz="960120" rtl="0" eaLnBrk="1" latinLnBrk="0" hangingPunct="1">
        <a:lnSpc>
          <a:spcPct val="90000"/>
        </a:lnSpc>
        <a:spcBef>
          <a:spcPts val="525"/>
        </a:spcBef>
        <a:buFont typeface="Arial" panose="020B0604020202020204" pitchFamily="34" charset="0"/>
        <a:buChar char="•"/>
        <a:defRPr sz="13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3pPr>
      <a:lvl4pPr marL="1680210" indent="-240030" algn="l" defTabSz="960120" rtl="0" eaLnBrk="1" latinLnBrk="0" hangingPunct="1">
        <a:lnSpc>
          <a:spcPct val="90000"/>
        </a:lnSpc>
        <a:spcBef>
          <a:spcPts val="525"/>
        </a:spcBef>
        <a:buFont typeface="Arial" panose="020B0604020202020204" pitchFamily="34" charset="0"/>
        <a:buChar char="•"/>
        <a:defRPr sz="13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4pPr>
      <a:lvl5pPr marL="2160270" indent="-240030" algn="l" defTabSz="960120" rtl="0" eaLnBrk="1" latinLnBrk="0" hangingPunct="1">
        <a:lnSpc>
          <a:spcPct val="90000"/>
        </a:lnSpc>
        <a:spcBef>
          <a:spcPts val="525"/>
        </a:spcBef>
        <a:buFont typeface="Arial" panose="020B0604020202020204" pitchFamily="34" charset="0"/>
        <a:buChar char="•"/>
        <a:defRPr sz="13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5pPr>
      <a:lvl6pPr marL="2640330" indent="-240030" algn="l" defTabSz="960120" rtl="0" eaLnBrk="1" latinLnBrk="0" hangingPunct="1">
        <a:lnSpc>
          <a:spcPct val="90000"/>
        </a:lnSpc>
        <a:spcBef>
          <a:spcPts val="525"/>
        </a:spcBef>
        <a:buFont typeface="Arial" panose="020B060402020202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6pPr>
      <a:lvl7pPr marL="3120390" indent="-240030" algn="l" defTabSz="960120" rtl="0" eaLnBrk="1" latinLnBrk="0" hangingPunct="1">
        <a:lnSpc>
          <a:spcPct val="90000"/>
        </a:lnSpc>
        <a:spcBef>
          <a:spcPts val="525"/>
        </a:spcBef>
        <a:buFont typeface="Arial" panose="020B060402020202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7pPr>
      <a:lvl8pPr marL="3600450" indent="-240030" algn="l" defTabSz="960120" rtl="0" eaLnBrk="1" latinLnBrk="0" hangingPunct="1">
        <a:lnSpc>
          <a:spcPct val="90000"/>
        </a:lnSpc>
        <a:spcBef>
          <a:spcPts val="525"/>
        </a:spcBef>
        <a:buFont typeface="Arial" panose="020B060402020202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8pPr>
      <a:lvl9pPr marL="4080510" indent="-240030" algn="l" defTabSz="960120" rtl="0" eaLnBrk="1" latinLnBrk="0" hangingPunct="1">
        <a:lnSpc>
          <a:spcPct val="90000"/>
        </a:lnSpc>
        <a:spcBef>
          <a:spcPts val="525"/>
        </a:spcBef>
        <a:buFont typeface="Arial" panose="020B060402020202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0120" rtl="0" eaLnBrk="1" latinLnBrk="0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1pPr>
      <a:lvl2pPr marL="480060" algn="l" defTabSz="960120" rtl="0" eaLnBrk="1" latinLnBrk="0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2pPr>
      <a:lvl3pPr marL="960120" algn="l" defTabSz="960120" rtl="0" eaLnBrk="1" latinLnBrk="0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3pPr>
      <a:lvl4pPr marL="1440180" algn="l" defTabSz="960120" rtl="0" eaLnBrk="1" latinLnBrk="0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4pPr>
      <a:lvl5pPr marL="1920240" algn="l" defTabSz="960120" rtl="0" eaLnBrk="1" latinLnBrk="0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5pPr>
      <a:lvl6pPr marL="2400300" algn="l" defTabSz="960120" rtl="0" eaLnBrk="1" latinLnBrk="0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6pPr>
      <a:lvl7pPr marL="2880360" algn="l" defTabSz="960120" rtl="0" eaLnBrk="1" latinLnBrk="0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7pPr>
      <a:lvl8pPr marL="3360420" algn="l" defTabSz="960120" rtl="0" eaLnBrk="1" latinLnBrk="0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8pPr>
      <a:lvl9pPr marL="3840480" algn="l" defTabSz="960120" rtl="0" eaLnBrk="1" latinLnBrk="0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.jp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6" Type="http://schemas.microsoft.com/office/2007/relationships/hdphoto" Target="../media/hdphoto1.wdp"/><Relationship Id="rId5" Type="http://schemas.openxmlformats.org/officeDocument/2006/relationships/image" Target="../media/image6.png"/><Relationship Id="rId4" Type="http://schemas.openxmlformats.org/officeDocument/2006/relationships/image" Target="../media/image5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8"/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546678" y="2912375"/>
            <a:ext cx="3495222" cy="1376150"/>
          </a:xfrm>
          <a:prstGeom prst="rect">
            <a:avLst/>
          </a:prstGeom>
        </p:spPr>
      </p:pic>
      <p:cxnSp>
        <p:nvCxnSpPr>
          <p:cNvPr id="4" name="Straight Connector 3"/>
          <p:cNvCxnSpPr>
            <a:cxnSpLocks/>
          </p:cNvCxnSpPr>
          <p:nvPr/>
        </p:nvCxnSpPr>
        <p:spPr>
          <a:xfrm>
            <a:off x="5041900" y="3114222"/>
            <a:ext cx="0" cy="972457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/>
          <p:cNvSpPr/>
          <p:nvPr/>
        </p:nvSpPr>
        <p:spPr>
          <a:xfrm>
            <a:off x="5216071" y="3123398"/>
            <a:ext cx="3775529" cy="95410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12700" lvl="0">
              <a:buSzPct val="25000"/>
            </a:pPr>
            <a:r>
              <a:rPr lang="pt-BR" sz="2800" dirty="0">
                <a:solidFill>
                  <a:schemeClr val="tx1">
                    <a:lumMod val="65000"/>
                    <a:lumOff val="35000"/>
                  </a:schemeClr>
                </a:solidFill>
                <a:latin typeface="Questrial"/>
                <a:ea typeface="Questrial"/>
                <a:cs typeface="Questrial"/>
                <a:sym typeface="Questrial"/>
              </a:rPr>
              <a:t>Pentaho BI </a:t>
            </a:r>
            <a:r>
              <a:rPr lang="pt-BR" sz="2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Questrial"/>
                <a:ea typeface="Questrial"/>
                <a:cs typeface="Questrial"/>
                <a:sym typeface="Questrial"/>
              </a:rPr>
              <a:t>Server com </a:t>
            </a:r>
            <a:r>
              <a:rPr lang="pt-BR" sz="2800" dirty="0">
                <a:solidFill>
                  <a:schemeClr val="tx1">
                    <a:lumMod val="65000"/>
                    <a:lumOff val="35000"/>
                  </a:schemeClr>
                </a:solidFill>
                <a:latin typeface="Questrial"/>
                <a:ea typeface="Questrial"/>
                <a:cs typeface="Questrial"/>
                <a:sym typeface="Questrial"/>
              </a:rPr>
              <a:t>Sistema </a:t>
            </a:r>
            <a:r>
              <a:rPr lang="pt-BR" sz="2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Questrial"/>
                <a:ea typeface="Questrial"/>
                <a:cs typeface="Questrial"/>
                <a:sym typeface="Questrial"/>
              </a:rPr>
              <a:t>CRUD</a:t>
            </a:r>
            <a:endParaRPr lang="pt-BR" sz="2800" dirty="0">
              <a:solidFill>
                <a:schemeClr val="tx1">
                  <a:lumMod val="65000"/>
                  <a:lumOff val="35000"/>
                </a:schemeClr>
              </a:solidFill>
              <a:latin typeface="Questrial"/>
              <a:ea typeface="Questrial"/>
              <a:cs typeface="Questrial"/>
              <a:sym typeface="Questrial"/>
            </a:endParaRPr>
          </a:p>
        </p:txBody>
      </p:sp>
    </p:spTree>
    <p:extLst>
      <p:ext uri="{BB962C8B-B14F-4D97-AF65-F5344CB8AC3E}">
        <p14:creationId xmlns:p14="http://schemas.microsoft.com/office/powerpoint/2010/main" val="15634051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nteligência e Tecnologi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993A7A-2128-4A6B-A341-CFD1EF2DF75E}" type="slidenum">
              <a:rPr lang="en-US" smtClean="0"/>
              <a:t>2</a:t>
            </a:fld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2" r="11218" b="13278"/>
          <a:stretch/>
        </p:blipFill>
        <p:spPr>
          <a:xfrm>
            <a:off x="1055226" y="840205"/>
            <a:ext cx="3240000" cy="3240000"/>
          </a:xfrm>
          <a:prstGeom prst="ellipse">
            <a:avLst/>
          </a:prstGeom>
          <a:ln w="3175" cap="rnd">
            <a:solidFill>
              <a:srgbClr val="333333"/>
            </a:solidFill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207" r="11029"/>
          <a:stretch/>
        </p:blipFill>
        <p:spPr>
          <a:xfrm>
            <a:off x="5757589" y="840205"/>
            <a:ext cx="3240000" cy="3240000"/>
          </a:xfrm>
          <a:prstGeom prst="ellipse">
            <a:avLst/>
          </a:prstGeom>
          <a:ln w="3175" cap="rnd">
            <a:solidFill>
              <a:srgbClr val="333333"/>
            </a:solidFill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cxnSp>
        <p:nvCxnSpPr>
          <p:cNvPr id="30" name="Straight Connector 29"/>
          <p:cNvCxnSpPr/>
          <p:nvPr/>
        </p:nvCxnSpPr>
        <p:spPr>
          <a:xfrm>
            <a:off x="5517039" y="4375150"/>
            <a:ext cx="3480550" cy="0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5" name="Rectangle 24"/>
          <p:cNvSpPr/>
          <p:nvPr/>
        </p:nvSpPr>
        <p:spPr>
          <a:xfrm>
            <a:off x="1608850" y="4763982"/>
            <a:ext cx="2132763" cy="7349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2860" lvl="0" indent="-10159" algn="ctr">
              <a:lnSpc>
                <a:spcPct val="119750"/>
              </a:lnSpc>
              <a:buSzPct val="25000"/>
            </a:pPr>
            <a:r>
              <a:rPr lang="pt-BR" dirty="0" smtClean="0">
                <a:solidFill>
                  <a:schemeClr val="tx1">
                    <a:lumMod val="65000"/>
                    <a:lumOff val="35000"/>
                  </a:schemeClr>
                </a:solidFill>
                <a:sym typeface="Questrial"/>
              </a:rPr>
              <a:t>Daniel </a:t>
            </a:r>
            <a:r>
              <a:rPr lang="pt-BR" dirty="0" err="1" smtClean="0">
                <a:solidFill>
                  <a:schemeClr val="tx1">
                    <a:lumMod val="65000"/>
                    <a:lumOff val="35000"/>
                  </a:schemeClr>
                </a:solidFill>
                <a:sym typeface="Questrial"/>
              </a:rPr>
              <a:t>Valenti</a:t>
            </a:r>
            <a:r>
              <a:rPr lang="pt-BR" dirty="0" smtClean="0">
                <a:solidFill>
                  <a:schemeClr val="tx1">
                    <a:lumMod val="65000"/>
                    <a:lumOff val="35000"/>
                  </a:schemeClr>
                </a:solidFill>
                <a:sym typeface="Questrial"/>
              </a:rPr>
              <a:t/>
            </a:r>
            <a:br>
              <a:rPr lang="pt-BR" dirty="0" smtClean="0">
                <a:solidFill>
                  <a:schemeClr val="tx1">
                    <a:lumMod val="65000"/>
                    <a:lumOff val="35000"/>
                  </a:schemeClr>
                </a:solidFill>
                <a:sym typeface="Questrial"/>
              </a:rPr>
            </a:br>
            <a:r>
              <a:rPr lang="pt-BR" dirty="0" smtClean="0">
                <a:solidFill>
                  <a:schemeClr val="tx1">
                    <a:lumMod val="65000"/>
                    <a:lumOff val="35000"/>
                  </a:schemeClr>
                </a:solidFill>
                <a:sym typeface="Questrial"/>
              </a:rPr>
              <a:t>Desenvolvedor de BI</a:t>
            </a:r>
          </a:p>
        </p:txBody>
      </p:sp>
      <p:sp>
        <p:nvSpPr>
          <p:cNvPr id="33" name="Rectangle 32"/>
          <p:cNvSpPr/>
          <p:nvPr/>
        </p:nvSpPr>
        <p:spPr>
          <a:xfrm>
            <a:off x="5982176" y="4763982"/>
            <a:ext cx="2790829" cy="7349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2860" lvl="0" indent="-10159" algn="ctr">
              <a:lnSpc>
                <a:spcPct val="119750"/>
              </a:lnSpc>
              <a:buSzPct val="25000"/>
            </a:pPr>
            <a:r>
              <a:rPr lang="pt-BR" dirty="0" smtClean="0">
                <a:solidFill>
                  <a:schemeClr val="tx1">
                    <a:lumMod val="65000"/>
                    <a:lumOff val="35000"/>
                  </a:schemeClr>
                </a:solidFill>
                <a:sym typeface="Questrial"/>
              </a:rPr>
              <a:t>Fernando Lonzetti</a:t>
            </a:r>
            <a:br>
              <a:rPr lang="pt-BR" dirty="0" smtClean="0">
                <a:solidFill>
                  <a:schemeClr val="tx1">
                    <a:lumMod val="65000"/>
                    <a:lumOff val="35000"/>
                  </a:schemeClr>
                </a:solidFill>
                <a:sym typeface="Questrial"/>
              </a:rPr>
            </a:br>
            <a:r>
              <a:rPr lang="pt-BR" dirty="0" smtClean="0">
                <a:solidFill>
                  <a:schemeClr val="tx1">
                    <a:lumMod val="65000"/>
                    <a:lumOff val="35000"/>
                  </a:schemeClr>
                </a:solidFill>
                <a:sym typeface="Questrial"/>
              </a:rPr>
              <a:t>Desenvolvedor de Software</a:t>
            </a:r>
          </a:p>
        </p:txBody>
      </p:sp>
      <p:cxnSp>
        <p:nvCxnSpPr>
          <p:cNvPr id="38" name="Straight Connector 37"/>
          <p:cNvCxnSpPr/>
          <p:nvPr/>
        </p:nvCxnSpPr>
        <p:spPr>
          <a:xfrm>
            <a:off x="1055226" y="4368800"/>
            <a:ext cx="3480550" cy="0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50480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/>
      <p:bldP spid="33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3261" y="499285"/>
            <a:ext cx="8697278" cy="545531"/>
          </a:xfrm>
        </p:spPr>
        <p:txBody>
          <a:bodyPr>
            <a:noAutofit/>
          </a:bodyPr>
          <a:lstStyle/>
          <a:p>
            <a:pPr marL="12700" lvl="0">
              <a:lnSpc>
                <a:spcPct val="100000"/>
              </a:lnSpc>
              <a:spcBef>
                <a:spcPts val="0"/>
              </a:spcBef>
            </a:pPr>
            <a:r>
              <a:rPr lang="pt-BR" dirty="0">
                <a:solidFill>
                  <a:schemeClr val="accent2"/>
                </a:solidFill>
                <a:sym typeface="Questrial"/>
              </a:rPr>
              <a:t>Nossos número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Inteligência e Tecnologi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993A7A-2128-4A6B-A341-CFD1EF2DF75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hape 63"/>
          <p:cNvSpPr/>
          <p:nvPr/>
        </p:nvSpPr>
        <p:spPr>
          <a:xfrm>
            <a:off x="6877050" y="2228850"/>
            <a:ext cx="2743200" cy="27432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59987" y="0"/>
                </a:moveTo>
                <a:lnTo>
                  <a:pt x="56801" y="83"/>
                </a:lnTo>
                <a:lnTo>
                  <a:pt x="53658" y="329"/>
                </a:lnTo>
                <a:lnTo>
                  <a:pt x="50563" y="736"/>
                </a:lnTo>
                <a:lnTo>
                  <a:pt x="47519" y="1297"/>
                </a:lnTo>
                <a:lnTo>
                  <a:pt x="44531" y="2010"/>
                </a:lnTo>
                <a:lnTo>
                  <a:pt x="41603" y="2869"/>
                </a:lnTo>
                <a:lnTo>
                  <a:pt x="38739" y="3872"/>
                </a:lnTo>
                <a:lnTo>
                  <a:pt x="35943" y="5013"/>
                </a:lnTo>
                <a:lnTo>
                  <a:pt x="33220" y="6289"/>
                </a:lnTo>
                <a:lnTo>
                  <a:pt x="30573" y="7695"/>
                </a:lnTo>
                <a:lnTo>
                  <a:pt x="28007" y="9227"/>
                </a:lnTo>
                <a:lnTo>
                  <a:pt x="25526" y="10882"/>
                </a:lnTo>
                <a:lnTo>
                  <a:pt x="23133" y="12654"/>
                </a:lnTo>
                <a:lnTo>
                  <a:pt x="20834" y="14540"/>
                </a:lnTo>
                <a:lnTo>
                  <a:pt x="18632" y="16536"/>
                </a:lnTo>
                <a:lnTo>
                  <a:pt x="16531" y="18638"/>
                </a:lnTo>
                <a:lnTo>
                  <a:pt x="14535" y="20841"/>
                </a:lnTo>
                <a:lnTo>
                  <a:pt x="12650" y="23141"/>
                </a:lnTo>
                <a:lnTo>
                  <a:pt x="10878" y="25534"/>
                </a:lnTo>
                <a:lnTo>
                  <a:pt x="9224" y="28016"/>
                </a:lnTo>
                <a:lnTo>
                  <a:pt x="7692" y="30583"/>
                </a:lnTo>
                <a:lnTo>
                  <a:pt x="6286" y="33230"/>
                </a:lnTo>
                <a:lnTo>
                  <a:pt x="5011" y="35954"/>
                </a:lnTo>
                <a:lnTo>
                  <a:pt x="3870" y="38750"/>
                </a:lnTo>
                <a:lnTo>
                  <a:pt x="2868" y="41614"/>
                </a:lnTo>
                <a:lnTo>
                  <a:pt x="2009" y="44543"/>
                </a:lnTo>
                <a:lnTo>
                  <a:pt x="1297" y="47531"/>
                </a:lnTo>
                <a:lnTo>
                  <a:pt x="735" y="50575"/>
                </a:lnTo>
                <a:lnTo>
                  <a:pt x="329" y="53671"/>
                </a:lnTo>
                <a:lnTo>
                  <a:pt x="83" y="56814"/>
                </a:lnTo>
                <a:lnTo>
                  <a:pt x="0" y="60000"/>
                </a:lnTo>
                <a:lnTo>
                  <a:pt x="83" y="63187"/>
                </a:lnTo>
                <a:lnTo>
                  <a:pt x="329" y="66329"/>
                </a:lnTo>
                <a:lnTo>
                  <a:pt x="735" y="69425"/>
                </a:lnTo>
                <a:lnTo>
                  <a:pt x="1297" y="72469"/>
                </a:lnTo>
                <a:lnTo>
                  <a:pt x="2009" y="75457"/>
                </a:lnTo>
                <a:lnTo>
                  <a:pt x="2868" y="78385"/>
                </a:lnTo>
                <a:lnTo>
                  <a:pt x="3870" y="81250"/>
                </a:lnTo>
                <a:lnTo>
                  <a:pt x="5011" y="84046"/>
                </a:lnTo>
                <a:lnTo>
                  <a:pt x="6286" y="86770"/>
                </a:lnTo>
                <a:lnTo>
                  <a:pt x="7692" y="89417"/>
                </a:lnTo>
                <a:lnTo>
                  <a:pt x="9224" y="91984"/>
                </a:lnTo>
                <a:lnTo>
                  <a:pt x="10878" y="94466"/>
                </a:lnTo>
                <a:lnTo>
                  <a:pt x="12650" y="96859"/>
                </a:lnTo>
                <a:lnTo>
                  <a:pt x="14535" y="99159"/>
                </a:lnTo>
                <a:lnTo>
                  <a:pt x="16531" y="101362"/>
                </a:lnTo>
                <a:lnTo>
                  <a:pt x="18632" y="103463"/>
                </a:lnTo>
                <a:lnTo>
                  <a:pt x="20834" y="105459"/>
                </a:lnTo>
                <a:lnTo>
                  <a:pt x="23133" y="107345"/>
                </a:lnTo>
                <a:lnTo>
                  <a:pt x="25526" y="109118"/>
                </a:lnTo>
                <a:lnTo>
                  <a:pt x="28007" y="110772"/>
                </a:lnTo>
                <a:lnTo>
                  <a:pt x="30573" y="112304"/>
                </a:lnTo>
                <a:lnTo>
                  <a:pt x="33220" y="113711"/>
                </a:lnTo>
                <a:lnTo>
                  <a:pt x="35943" y="114986"/>
                </a:lnTo>
                <a:lnTo>
                  <a:pt x="38739" y="116127"/>
                </a:lnTo>
                <a:lnTo>
                  <a:pt x="41603" y="117130"/>
                </a:lnTo>
                <a:lnTo>
                  <a:pt x="44531" y="117990"/>
                </a:lnTo>
                <a:lnTo>
                  <a:pt x="47519" y="118702"/>
                </a:lnTo>
                <a:lnTo>
                  <a:pt x="50563" y="119264"/>
                </a:lnTo>
                <a:lnTo>
                  <a:pt x="53658" y="119670"/>
                </a:lnTo>
                <a:lnTo>
                  <a:pt x="56801" y="119917"/>
                </a:lnTo>
                <a:lnTo>
                  <a:pt x="59987" y="120000"/>
                </a:lnTo>
                <a:lnTo>
                  <a:pt x="63173" y="119917"/>
                </a:lnTo>
                <a:lnTo>
                  <a:pt x="66316" y="119670"/>
                </a:lnTo>
                <a:lnTo>
                  <a:pt x="69411" y="119264"/>
                </a:lnTo>
                <a:lnTo>
                  <a:pt x="72455" y="118702"/>
                </a:lnTo>
                <a:lnTo>
                  <a:pt x="75443" y="117990"/>
                </a:lnTo>
                <a:lnTo>
                  <a:pt x="78371" y="117130"/>
                </a:lnTo>
                <a:lnTo>
                  <a:pt x="81235" y="116127"/>
                </a:lnTo>
                <a:lnTo>
                  <a:pt x="84030" y="114986"/>
                </a:lnTo>
                <a:lnTo>
                  <a:pt x="86754" y="113711"/>
                </a:lnTo>
                <a:lnTo>
                  <a:pt x="89401" y="112304"/>
                </a:lnTo>
                <a:lnTo>
                  <a:pt x="91967" y="110772"/>
                </a:lnTo>
                <a:lnTo>
                  <a:pt x="94448" y="109118"/>
                </a:lnTo>
                <a:lnTo>
                  <a:pt x="96841" y="107345"/>
                </a:lnTo>
                <a:lnTo>
                  <a:pt x="99140" y="105459"/>
                </a:lnTo>
                <a:lnTo>
                  <a:pt x="101342" y="103463"/>
                </a:lnTo>
                <a:lnTo>
                  <a:pt x="103443" y="101362"/>
                </a:lnTo>
                <a:lnTo>
                  <a:pt x="105438" y="99159"/>
                </a:lnTo>
                <a:lnTo>
                  <a:pt x="107324" y="96859"/>
                </a:lnTo>
                <a:lnTo>
                  <a:pt x="109096" y="94466"/>
                </a:lnTo>
                <a:lnTo>
                  <a:pt x="110750" y="91984"/>
                </a:lnTo>
                <a:lnTo>
                  <a:pt x="112282" y="89417"/>
                </a:lnTo>
                <a:lnTo>
                  <a:pt x="113687" y="86770"/>
                </a:lnTo>
                <a:lnTo>
                  <a:pt x="114963" y="84046"/>
                </a:lnTo>
                <a:lnTo>
                  <a:pt x="116104" y="81250"/>
                </a:lnTo>
                <a:lnTo>
                  <a:pt x="117106" y="78385"/>
                </a:lnTo>
                <a:lnTo>
                  <a:pt x="117965" y="75457"/>
                </a:lnTo>
                <a:lnTo>
                  <a:pt x="118677" y="72469"/>
                </a:lnTo>
                <a:lnTo>
                  <a:pt x="119239" y="69425"/>
                </a:lnTo>
                <a:lnTo>
                  <a:pt x="119645" y="66329"/>
                </a:lnTo>
                <a:lnTo>
                  <a:pt x="119891" y="63187"/>
                </a:lnTo>
                <a:lnTo>
                  <a:pt x="119974" y="60000"/>
                </a:lnTo>
                <a:lnTo>
                  <a:pt x="119891" y="56814"/>
                </a:lnTo>
                <a:lnTo>
                  <a:pt x="119645" y="53671"/>
                </a:lnTo>
                <a:lnTo>
                  <a:pt x="119239" y="50575"/>
                </a:lnTo>
                <a:lnTo>
                  <a:pt x="118677" y="47531"/>
                </a:lnTo>
                <a:lnTo>
                  <a:pt x="117965" y="44543"/>
                </a:lnTo>
                <a:lnTo>
                  <a:pt x="117106" y="41614"/>
                </a:lnTo>
                <a:lnTo>
                  <a:pt x="116104" y="38750"/>
                </a:lnTo>
                <a:lnTo>
                  <a:pt x="114963" y="35954"/>
                </a:lnTo>
                <a:lnTo>
                  <a:pt x="113687" y="33230"/>
                </a:lnTo>
                <a:lnTo>
                  <a:pt x="112282" y="30583"/>
                </a:lnTo>
                <a:lnTo>
                  <a:pt x="110750" y="28016"/>
                </a:lnTo>
                <a:lnTo>
                  <a:pt x="109096" y="25534"/>
                </a:lnTo>
                <a:lnTo>
                  <a:pt x="107324" y="23141"/>
                </a:lnTo>
                <a:lnTo>
                  <a:pt x="105438" y="20841"/>
                </a:lnTo>
                <a:lnTo>
                  <a:pt x="103443" y="18638"/>
                </a:lnTo>
                <a:lnTo>
                  <a:pt x="101342" y="16536"/>
                </a:lnTo>
                <a:lnTo>
                  <a:pt x="99140" y="14540"/>
                </a:lnTo>
                <a:lnTo>
                  <a:pt x="96841" y="12654"/>
                </a:lnTo>
                <a:lnTo>
                  <a:pt x="94448" y="10882"/>
                </a:lnTo>
                <a:lnTo>
                  <a:pt x="91967" y="9227"/>
                </a:lnTo>
                <a:lnTo>
                  <a:pt x="89401" y="7695"/>
                </a:lnTo>
                <a:lnTo>
                  <a:pt x="86754" y="6289"/>
                </a:lnTo>
                <a:lnTo>
                  <a:pt x="84030" y="5013"/>
                </a:lnTo>
                <a:lnTo>
                  <a:pt x="81235" y="3872"/>
                </a:lnTo>
                <a:lnTo>
                  <a:pt x="78371" y="2869"/>
                </a:lnTo>
                <a:lnTo>
                  <a:pt x="75443" y="2010"/>
                </a:lnTo>
                <a:lnTo>
                  <a:pt x="72455" y="1297"/>
                </a:lnTo>
                <a:lnTo>
                  <a:pt x="69411" y="736"/>
                </a:lnTo>
                <a:lnTo>
                  <a:pt x="66316" y="329"/>
                </a:lnTo>
                <a:lnTo>
                  <a:pt x="63173" y="83"/>
                </a:lnTo>
                <a:lnTo>
                  <a:pt x="59987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lIns="0" tIns="0" rIns="0" bIns="0" anchor="t" anchorCtr="0">
            <a:noAutofit/>
          </a:bodyPr>
          <a:lstStyle/>
          <a:p>
            <a:endParaRPr>
              <a:solidFill>
                <a:prstClr val="black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7" name="Shape 64"/>
          <p:cNvSpPr/>
          <p:nvPr/>
        </p:nvSpPr>
        <p:spPr>
          <a:xfrm>
            <a:off x="463550" y="2228850"/>
            <a:ext cx="2743200" cy="27432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59987" y="0"/>
                </a:moveTo>
                <a:lnTo>
                  <a:pt x="56801" y="83"/>
                </a:lnTo>
                <a:lnTo>
                  <a:pt x="53658" y="329"/>
                </a:lnTo>
                <a:lnTo>
                  <a:pt x="50563" y="736"/>
                </a:lnTo>
                <a:lnTo>
                  <a:pt x="47519" y="1297"/>
                </a:lnTo>
                <a:lnTo>
                  <a:pt x="44531" y="2010"/>
                </a:lnTo>
                <a:lnTo>
                  <a:pt x="41603" y="2869"/>
                </a:lnTo>
                <a:lnTo>
                  <a:pt x="38739" y="3872"/>
                </a:lnTo>
                <a:lnTo>
                  <a:pt x="35943" y="5013"/>
                </a:lnTo>
                <a:lnTo>
                  <a:pt x="33220" y="6289"/>
                </a:lnTo>
                <a:lnTo>
                  <a:pt x="30573" y="7695"/>
                </a:lnTo>
                <a:lnTo>
                  <a:pt x="28007" y="9227"/>
                </a:lnTo>
                <a:lnTo>
                  <a:pt x="25526" y="10882"/>
                </a:lnTo>
                <a:lnTo>
                  <a:pt x="23133" y="12654"/>
                </a:lnTo>
                <a:lnTo>
                  <a:pt x="20834" y="14540"/>
                </a:lnTo>
                <a:lnTo>
                  <a:pt x="18632" y="16536"/>
                </a:lnTo>
                <a:lnTo>
                  <a:pt x="16531" y="18638"/>
                </a:lnTo>
                <a:lnTo>
                  <a:pt x="14535" y="20841"/>
                </a:lnTo>
                <a:lnTo>
                  <a:pt x="12650" y="23141"/>
                </a:lnTo>
                <a:lnTo>
                  <a:pt x="10878" y="25534"/>
                </a:lnTo>
                <a:lnTo>
                  <a:pt x="9224" y="28016"/>
                </a:lnTo>
                <a:lnTo>
                  <a:pt x="7692" y="30583"/>
                </a:lnTo>
                <a:lnTo>
                  <a:pt x="6286" y="33230"/>
                </a:lnTo>
                <a:lnTo>
                  <a:pt x="5011" y="35954"/>
                </a:lnTo>
                <a:lnTo>
                  <a:pt x="3870" y="38750"/>
                </a:lnTo>
                <a:lnTo>
                  <a:pt x="2868" y="41614"/>
                </a:lnTo>
                <a:lnTo>
                  <a:pt x="2009" y="44543"/>
                </a:lnTo>
                <a:lnTo>
                  <a:pt x="1297" y="47531"/>
                </a:lnTo>
                <a:lnTo>
                  <a:pt x="735" y="50575"/>
                </a:lnTo>
                <a:lnTo>
                  <a:pt x="329" y="53671"/>
                </a:lnTo>
                <a:lnTo>
                  <a:pt x="83" y="56814"/>
                </a:lnTo>
                <a:lnTo>
                  <a:pt x="0" y="60000"/>
                </a:lnTo>
                <a:lnTo>
                  <a:pt x="83" y="63187"/>
                </a:lnTo>
                <a:lnTo>
                  <a:pt x="329" y="66329"/>
                </a:lnTo>
                <a:lnTo>
                  <a:pt x="735" y="69425"/>
                </a:lnTo>
                <a:lnTo>
                  <a:pt x="1297" y="72469"/>
                </a:lnTo>
                <a:lnTo>
                  <a:pt x="2009" y="75457"/>
                </a:lnTo>
                <a:lnTo>
                  <a:pt x="2868" y="78385"/>
                </a:lnTo>
                <a:lnTo>
                  <a:pt x="3870" y="81250"/>
                </a:lnTo>
                <a:lnTo>
                  <a:pt x="5011" y="84046"/>
                </a:lnTo>
                <a:lnTo>
                  <a:pt x="6286" y="86770"/>
                </a:lnTo>
                <a:lnTo>
                  <a:pt x="7692" y="89417"/>
                </a:lnTo>
                <a:lnTo>
                  <a:pt x="9224" y="91984"/>
                </a:lnTo>
                <a:lnTo>
                  <a:pt x="10878" y="94466"/>
                </a:lnTo>
                <a:lnTo>
                  <a:pt x="12650" y="96859"/>
                </a:lnTo>
                <a:lnTo>
                  <a:pt x="14535" y="99159"/>
                </a:lnTo>
                <a:lnTo>
                  <a:pt x="16531" y="101362"/>
                </a:lnTo>
                <a:lnTo>
                  <a:pt x="18632" y="103463"/>
                </a:lnTo>
                <a:lnTo>
                  <a:pt x="20834" y="105459"/>
                </a:lnTo>
                <a:lnTo>
                  <a:pt x="23133" y="107345"/>
                </a:lnTo>
                <a:lnTo>
                  <a:pt x="25526" y="109118"/>
                </a:lnTo>
                <a:lnTo>
                  <a:pt x="28007" y="110772"/>
                </a:lnTo>
                <a:lnTo>
                  <a:pt x="30573" y="112304"/>
                </a:lnTo>
                <a:lnTo>
                  <a:pt x="33220" y="113711"/>
                </a:lnTo>
                <a:lnTo>
                  <a:pt x="35943" y="114986"/>
                </a:lnTo>
                <a:lnTo>
                  <a:pt x="38739" y="116127"/>
                </a:lnTo>
                <a:lnTo>
                  <a:pt x="41603" y="117130"/>
                </a:lnTo>
                <a:lnTo>
                  <a:pt x="44531" y="117990"/>
                </a:lnTo>
                <a:lnTo>
                  <a:pt x="47519" y="118702"/>
                </a:lnTo>
                <a:lnTo>
                  <a:pt x="50563" y="119264"/>
                </a:lnTo>
                <a:lnTo>
                  <a:pt x="53658" y="119670"/>
                </a:lnTo>
                <a:lnTo>
                  <a:pt x="56801" y="119917"/>
                </a:lnTo>
                <a:lnTo>
                  <a:pt x="59987" y="120000"/>
                </a:lnTo>
                <a:lnTo>
                  <a:pt x="63173" y="119917"/>
                </a:lnTo>
                <a:lnTo>
                  <a:pt x="66316" y="119670"/>
                </a:lnTo>
                <a:lnTo>
                  <a:pt x="69411" y="119264"/>
                </a:lnTo>
                <a:lnTo>
                  <a:pt x="72455" y="118702"/>
                </a:lnTo>
                <a:lnTo>
                  <a:pt x="75443" y="117990"/>
                </a:lnTo>
                <a:lnTo>
                  <a:pt x="78371" y="117130"/>
                </a:lnTo>
                <a:lnTo>
                  <a:pt x="81235" y="116127"/>
                </a:lnTo>
                <a:lnTo>
                  <a:pt x="84030" y="114986"/>
                </a:lnTo>
                <a:lnTo>
                  <a:pt x="86754" y="113711"/>
                </a:lnTo>
                <a:lnTo>
                  <a:pt x="89401" y="112304"/>
                </a:lnTo>
                <a:lnTo>
                  <a:pt x="91967" y="110772"/>
                </a:lnTo>
                <a:lnTo>
                  <a:pt x="94448" y="109118"/>
                </a:lnTo>
                <a:lnTo>
                  <a:pt x="96841" y="107345"/>
                </a:lnTo>
                <a:lnTo>
                  <a:pt x="99140" y="105459"/>
                </a:lnTo>
                <a:lnTo>
                  <a:pt x="101342" y="103463"/>
                </a:lnTo>
                <a:lnTo>
                  <a:pt x="103443" y="101362"/>
                </a:lnTo>
                <a:lnTo>
                  <a:pt x="105438" y="99159"/>
                </a:lnTo>
                <a:lnTo>
                  <a:pt x="107324" y="96859"/>
                </a:lnTo>
                <a:lnTo>
                  <a:pt x="109096" y="94466"/>
                </a:lnTo>
                <a:lnTo>
                  <a:pt x="110750" y="91984"/>
                </a:lnTo>
                <a:lnTo>
                  <a:pt x="112282" y="89417"/>
                </a:lnTo>
                <a:lnTo>
                  <a:pt x="113687" y="86770"/>
                </a:lnTo>
                <a:lnTo>
                  <a:pt x="114963" y="84046"/>
                </a:lnTo>
                <a:lnTo>
                  <a:pt x="116104" y="81250"/>
                </a:lnTo>
                <a:lnTo>
                  <a:pt x="117106" y="78385"/>
                </a:lnTo>
                <a:lnTo>
                  <a:pt x="117965" y="75457"/>
                </a:lnTo>
                <a:lnTo>
                  <a:pt x="118677" y="72469"/>
                </a:lnTo>
                <a:lnTo>
                  <a:pt x="119239" y="69425"/>
                </a:lnTo>
                <a:lnTo>
                  <a:pt x="119645" y="66329"/>
                </a:lnTo>
                <a:lnTo>
                  <a:pt x="119891" y="63187"/>
                </a:lnTo>
                <a:lnTo>
                  <a:pt x="119974" y="60000"/>
                </a:lnTo>
                <a:lnTo>
                  <a:pt x="119891" y="56814"/>
                </a:lnTo>
                <a:lnTo>
                  <a:pt x="119645" y="53671"/>
                </a:lnTo>
                <a:lnTo>
                  <a:pt x="119239" y="50575"/>
                </a:lnTo>
                <a:lnTo>
                  <a:pt x="118677" y="47531"/>
                </a:lnTo>
                <a:lnTo>
                  <a:pt x="117965" y="44543"/>
                </a:lnTo>
                <a:lnTo>
                  <a:pt x="117106" y="41614"/>
                </a:lnTo>
                <a:lnTo>
                  <a:pt x="116104" y="38750"/>
                </a:lnTo>
                <a:lnTo>
                  <a:pt x="114963" y="35954"/>
                </a:lnTo>
                <a:lnTo>
                  <a:pt x="113687" y="33230"/>
                </a:lnTo>
                <a:lnTo>
                  <a:pt x="112282" y="30583"/>
                </a:lnTo>
                <a:lnTo>
                  <a:pt x="110750" y="28016"/>
                </a:lnTo>
                <a:lnTo>
                  <a:pt x="109096" y="25534"/>
                </a:lnTo>
                <a:lnTo>
                  <a:pt x="107324" y="23141"/>
                </a:lnTo>
                <a:lnTo>
                  <a:pt x="105438" y="20841"/>
                </a:lnTo>
                <a:lnTo>
                  <a:pt x="103443" y="18638"/>
                </a:lnTo>
                <a:lnTo>
                  <a:pt x="101342" y="16536"/>
                </a:lnTo>
                <a:lnTo>
                  <a:pt x="99140" y="14540"/>
                </a:lnTo>
                <a:lnTo>
                  <a:pt x="96841" y="12654"/>
                </a:lnTo>
                <a:lnTo>
                  <a:pt x="94448" y="10882"/>
                </a:lnTo>
                <a:lnTo>
                  <a:pt x="91967" y="9227"/>
                </a:lnTo>
                <a:lnTo>
                  <a:pt x="89401" y="7695"/>
                </a:lnTo>
                <a:lnTo>
                  <a:pt x="86754" y="6289"/>
                </a:lnTo>
                <a:lnTo>
                  <a:pt x="84030" y="5013"/>
                </a:lnTo>
                <a:lnTo>
                  <a:pt x="81235" y="3872"/>
                </a:lnTo>
                <a:lnTo>
                  <a:pt x="78371" y="2869"/>
                </a:lnTo>
                <a:lnTo>
                  <a:pt x="75443" y="2010"/>
                </a:lnTo>
                <a:lnTo>
                  <a:pt x="72455" y="1297"/>
                </a:lnTo>
                <a:lnTo>
                  <a:pt x="69411" y="736"/>
                </a:lnTo>
                <a:lnTo>
                  <a:pt x="66316" y="329"/>
                </a:lnTo>
                <a:lnTo>
                  <a:pt x="63173" y="83"/>
                </a:lnTo>
                <a:lnTo>
                  <a:pt x="59987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lIns="0" tIns="0" rIns="0" bIns="0" anchor="t" anchorCtr="0">
            <a:noAutofit/>
          </a:bodyPr>
          <a:lstStyle/>
          <a:p>
            <a:endParaRPr dirty="0">
              <a:solidFill>
                <a:prstClr val="black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9" name="Shape 67"/>
          <p:cNvSpPr/>
          <p:nvPr/>
        </p:nvSpPr>
        <p:spPr>
          <a:xfrm>
            <a:off x="3670300" y="2228850"/>
            <a:ext cx="2743200" cy="27432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59987" y="0"/>
                </a:moveTo>
                <a:lnTo>
                  <a:pt x="56801" y="83"/>
                </a:lnTo>
                <a:lnTo>
                  <a:pt x="53658" y="329"/>
                </a:lnTo>
                <a:lnTo>
                  <a:pt x="50563" y="736"/>
                </a:lnTo>
                <a:lnTo>
                  <a:pt x="47519" y="1297"/>
                </a:lnTo>
                <a:lnTo>
                  <a:pt x="44531" y="2010"/>
                </a:lnTo>
                <a:lnTo>
                  <a:pt x="41603" y="2869"/>
                </a:lnTo>
                <a:lnTo>
                  <a:pt x="38739" y="3872"/>
                </a:lnTo>
                <a:lnTo>
                  <a:pt x="35943" y="5013"/>
                </a:lnTo>
                <a:lnTo>
                  <a:pt x="33220" y="6289"/>
                </a:lnTo>
                <a:lnTo>
                  <a:pt x="30573" y="7695"/>
                </a:lnTo>
                <a:lnTo>
                  <a:pt x="28007" y="9227"/>
                </a:lnTo>
                <a:lnTo>
                  <a:pt x="25526" y="10882"/>
                </a:lnTo>
                <a:lnTo>
                  <a:pt x="23133" y="12654"/>
                </a:lnTo>
                <a:lnTo>
                  <a:pt x="20834" y="14540"/>
                </a:lnTo>
                <a:lnTo>
                  <a:pt x="18632" y="16536"/>
                </a:lnTo>
                <a:lnTo>
                  <a:pt x="16531" y="18638"/>
                </a:lnTo>
                <a:lnTo>
                  <a:pt x="14535" y="20841"/>
                </a:lnTo>
                <a:lnTo>
                  <a:pt x="12650" y="23141"/>
                </a:lnTo>
                <a:lnTo>
                  <a:pt x="10878" y="25534"/>
                </a:lnTo>
                <a:lnTo>
                  <a:pt x="9224" y="28016"/>
                </a:lnTo>
                <a:lnTo>
                  <a:pt x="7692" y="30583"/>
                </a:lnTo>
                <a:lnTo>
                  <a:pt x="6286" y="33230"/>
                </a:lnTo>
                <a:lnTo>
                  <a:pt x="5011" y="35954"/>
                </a:lnTo>
                <a:lnTo>
                  <a:pt x="3870" y="38750"/>
                </a:lnTo>
                <a:lnTo>
                  <a:pt x="2868" y="41614"/>
                </a:lnTo>
                <a:lnTo>
                  <a:pt x="2009" y="44543"/>
                </a:lnTo>
                <a:lnTo>
                  <a:pt x="1297" y="47531"/>
                </a:lnTo>
                <a:lnTo>
                  <a:pt x="735" y="50575"/>
                </a:lnTo>
                <a:lnTo>
                  <a:pt x="329" y="53671"/>
                </a:lnTo>
                <a:lnTo>
                  <a:pt x="83" y="56814"/>
                </a:lnTo>
                <a:lnTo>
                  <a:pt x="0" y="60000"/>
                </a:lnTo>
                <a:lnTo>
                  <a:pt x="83" y="63187"/>
                </a:lnTo>
                <a:lnTo>
                  <a:pt x="329" y="66329"/>
                </a:lnTo>
                <a:lnTo>
                  <a:pt x="735" y="69425"/>
                </a:lnTo>
                <a:lnTo>
                  <a:pt x="1297" y="72469"/>
                </a:lnTo>
                <a:lnTo>
                  <a:pt x="2009" y="75457"/>
                </a:lnTo>
                <a:lnTo>
                  <a:pt x="2868" y="78385"/>
                </a:lnTo>
                <a:lnTo>
                  <a:pt x="3870" y="81250"/>
                </a:lnTo>
                <a:lnTo>
                  <a:pt x="5011" y="84046"/>
                </a:lnTo>
                <a:lnTo>
                  <a:pt x="6286" y="86770"/>
                </a:lnTo>
                <a:lnTo>
                  <a:pt x="7692" y="89417"/>
                </a:lnTo>
                <a:lnTo>
                  <a:pt x="9224" y="91984"/>
                </a:lnTo>
                <a:lnTo>
                  <a:pt x="10878" y="94466"/>
                </a:lnTo>
                <a:lnTo>
                  <a:pt x="12650" y="96859"/>
                </a:lnTo>
                <a:lnTo>
                  <a:pt x="14535" y="99159"/>
                </a:lnTo>
                <a:lnTo>
                  <a:pt x="16531" y="101362"/>
                </a:lnTo>
                <a:lnTo>
                  <a:pt x="18632" y="103463"/>
                </a:lnTo>
                <a:lnTo>
                  <a:pt x="20834" y="105459"/>
                </a:lnTo>
                <a:lnTo>
                  <a:pt x="23133" y="107345"/>
                </a:lnTo>
                <a:lnTo>
                  <a:pt x="25526" y="109118"/>
                </a:lnTo>
                <a:lnTo>
                  <a:pt x="28007" y="110772"/>
                </a:lnTo>
                <a:lnTo>
                  <a:pt x="30573" y="112304"/>
                </a:lnTo>
                <a:lnTo>
                  <a:pt x="33220" y="113711"/>
                </a:lnTo>
                <a:lnTo>
                  <a:pt x="35943" y="114986"/>
                </a:lnTo>
                <a:lnTo>
                  <a:pt x="38739" y="116127"/>
                </a:lnTo>
                <a:lnTo>
                  <a:pt x="41603" y="117130"/>
                </a:lnTo>
                <a:lnTo>
                  <a:pt x="44531" y="117990"/>
                </a:lnTo>
                <a:lnTo>
                  <a:pt x="47519" y="118702"/>
                </a:lnTo>
                <a:lnTo>
                  <a:pt x="50563" y="119264"/>
                </a:lnTo>
                <a:lnTo>
                  <a:pt x="53658" y="119670"/>
                </a:lnTo>
                <a:lnTo>
                  <a:pt x="56801" y="119917"/>
                </a:lnTo>
                <a:lnTo>
                  <a:pt x="59987" y="120000"/>
                </a:lnTo>
                <a:lnTo>
                  <a:pt x="63173" y="119917"/>
                </a:lnTo>
                <a:lnTo>
                  <a:pt x="66316" y="119670"/>
                </a:lnTo>
                <a:lnTo>
                  <a:pt x="69411" y="119264"/>
                </a:lnTo>
                <a:lnTo>
                  <a:pt x="72455" y="118702"/>
                </a:lnTo>
                <a:lnTo>
                  <a:pt x="75443" y="117990"/>
                </a:lnTo>
                <a:lnTo>
                  <a:pt x="78371" y="117130"/>
                </a:lnTo>
                <a:lnTo>
                  <a:pt x="81235" y="116127"/>
                </a:lnTo>
                <a:lnTo>
                  <a:pt x="84030" y="114986"/>
                </a:lnTo>
                <a:lnTo>
                  <a:pt x="86754" y="113711"/>
                </a:lnTo>
                <a:lnTo>
                  <a:pt x="89401" y="112304"/>
                </a:lnTo>
                <a:lnTo>
                  <a:pt x="91967" y="110772"/>
                </a:lnTo>
                <a:lnTo>
                  <a:pt x="94448" y="109118"/>
                </a:lnTo>
                <a:lnTo>
                  <a:pt x="96841" y="107345"/>
                </a:lnTo>
                <a:lnTo>
                  <a:pt x="99140" y="105459"/>
                </a:lnTo>
                <a:lnTo>
                  <a:pt x="101342" y="103463"/>
                </a:lnTo>
                <a:lnTo>
                  <a:pt x="103443" y="101362"/>
                </a:lnTo>
                <a:lnTo>
                  <a:pt x="105438" y="99159"/>
                </a:lnTo>
                <a:lnTo>
                  <a:pt x="107324" y="96859"/>
                </a:lnTo>
                <a:lnTo>
                  <a:pt x="109096" y="94466"/>
                </a:lnTo>
                <a:lnTo>
                  <a:pt x="110750" y="91984"/>
                </a:lnTo>
                <a:lnTo>
                  <a:pt x="112282" y="89417"/>
                </a:lnTo>
                <a:lnTo>
                  <a:pt x="113687" y="86770"/>
                </a:lnTo>
                <a:lnTo>
                  <a:pt x="114963" y="84046"/>
                </a:lnTo>
                <a:lnTo>
                  <a:pt x="116104" y="81250"/>
                </a:lnTo>
                <a:lnTo>
                  <a:pt x="117106" y="78385"/>
                </a:lnTo>
                <a:lnTo>
                  <a:pt x="117965" y="75457"/>
                </a:lnTo>
                <a:lnTo>
                  <a:pt x="118677" y="72469"/>
                </a:lnTo>
                <a:lnTo>
                  <a:pt x="119239" y="69425"/>
                </a:lnTo>
                <a:lnTo>
                  <a:pt x="119645" y="66329"/>
                </a:lnTo>
                <a:lnTo>
                  <a:pt x="119891" y="63187"/>
                </a:lnTo>
                <a:lnTo>
                  <a:pt x="119974" y="60000"/>
                </a:lnTo>
                <a:lnTo>
                  <a:pt x="119891" y="56814"/>
                </a:lnTo>
                <a:lnTo>
                  <a:pt x="119645" y="53671"/>
                </a:lnTo>
                <a:lnTo>
                  <a:pt x="119239" y="50575"/>
                </a:lnTo>
                <a:lnTo>
                  <a:pt x="118677" y="47531"/>
                </a:lnTo>
                <a:lnTo>
                  <a:pt x="117965" y="44543"/>
                </a:lnTo>
                <a:lnTo>
                  <a:pt x="117106" y="41614"/>
                </a:lnTo>
                <a:lnTo>
                  <a:pt x="116104" y="38750"/>
                </a:lnTo>
                <a:lnTo>
                  <a:pt x="114963" y="35954"/>
                </a:lnTo>
                <a:lnTo>
                  <a:pt x="113687" y="33230"/>
                </a:lnTo>
                <a:lnTo>
                  <a:pt x="112282" y="30583"/>
                </a:lnTo>
                <a:lnTo>
                  <a:pt x="110750" y="28016"/>
                </a:lnTo>
                <a:lnTo>
                  <a:pt x="109096" y="25534"/>
                </a:lnTo>
                <a:lnTo>
                  <a:pt x="107324" y="23141"/>
                </a:lnTo>
                <a:lnTo>
                  <a:pt x="105438" y="20841"/>
                </a:lnTo>
                <a:lnTo>
                  <a:pt x="103443" y="18638"/>
                </a:lnTo>
                <a:lnTo>
                  <a:pt x="101342" y="16536"/>
                </a:lnTo>
                <a:lnTo>
                  <a:pt x="99140" y="14540"/>
                </a:lnTo>
                <a:lnTo>
                  <a:pt x="96841" y="12654"/>
                </a:lnTo>
                <a:lnTo>
                  <a:pt x="94448" y="10882"/>
                </a:lnTo>
                <a:lnTo>
                  <a:pt x="91967" y="9227"/>
                </a:lnTo>
                <a:lnTo>
                  <a:pt x="89401" y="7695"/>
                </a:lnTo>
                <a:lnTo>
                  <a:pt x="86754" y="6289"/>
                </a:lnTo>
                <a:lnTo>
                  <a:pt x="84030" y="5013"/>
                </a:lnTo>
                <a:lnTo>
                  <a:pt x="81235" y="3872"/>
                </a:lnTo>
                <a:lnTo>
                  <a:pt x="78371" y="2869"/>
                </a:lnTo>
                <a:lnTo>
                  <a:pt x="75443" y="2010"/>
                </a:lnTo>
                <a:lnTo>
                  <a:pt x="72455" y="1297"/>
                </a:lnTo>
                <a:lnTo>
                  <a:pt x="69411" y="736"/>
                </a:lnTo>
                <a:lnTo>
                  <a:pt x="66316" y="329"/>
                </a:lnTo>
                <a:lnTo>
                  <a:pt x="63173" y="83"/>
                </a:lnTo>
                <a:lnTo>
                  <a:pt x="59987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lIns="0" tIns="0" rIns="0" bIns="0" anchor="t" anchorCtr="0">
            <a:noAutofit/>
          </a:bodyPr>
          <a:lstStyle/>
          <a:p>
            <a:endParaRPr>
              <a:solidFill>
                <a:prstClr val="black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10" name="Shape 68"/>
          <p:cNvSpPr txBox="1"/>
          <p:nvPr/>
        </p:nvSpPr>
        <p:spPr>
          <a:xfrm>
            <a:off x="3945244" y="2759187"/>
            <a:ext cx="2193312" cy="809941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>
            <a:noAutofit/>
          </a:bodyPr>
          <a:lstStyle/>
          <a:p>
            <a:pPr marR="67945" algn="ctr">
              <a:lnSpc>
                <a:spcPct val="114629"/>
              </a:lnSpc>
              <a:buSzPct val="25000"/>
            </a:pPr>
            <a:r>
              <a:rPr lang="pt-BR" sz="5000" dirty="0">
                <a:solidFill>
                  <a:prstClr val="white"/>
                </a:solidFill>
                <a:latin typeface="Questrial"/>
                <a:ea typeface="Arial Black"/>
                <a:cs typeface="Arial Black"/>
                <a:sym typeface="Arial Black"/>
              </a:rPr>
              <a:t>5</a:t>
            </a:r>
            <a:r>
              <a:rPr lang="pt-BR" sz="2500" dirty="0">
                <a:solidFill>
                  <a:prstClr val="white"/>
                </a:solidFill>
                <a:latin typeface="Questrial"/>
                <a:ea typeface="Arial Black"/>
                <a:cs typeface="Arial Black"/>
                <a:sym typeface="Arial Black"/>
              </a:rPr>
              <a:t>+</a:t>
            </a:r>
            <a:endParaRPr lang="pt-BR" sz="2500" dirty="0">
              <a:solidFill>
                <a:prstClr val="white"/>
              </a:solidFill>
              <a:latin typeface="Questrial"/>
              <a:ea typeface="Questrial"/>
              <a:cs typeface="Questrial"/>
              <a:sym typeface="Questrial"/>
            </a:endParaRPr>
          </a:p>
        </p:txBody>
      </p:sp>
      <p:sp>
        <p:nvSpPr>
          <p:cNvPr id="11" name="Shape 69"/>
          <p:cNvSpPr txBox="1"/>
          <p:nvPr/>
        </p:nvSpPr>
        <p:spPr>
          <a:xfrm>
            <a:off x="7096200" y="3618538"/>
            <a:ext cx="2304900" cy="1335424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 anchorCtr="0">
            <a:noAutofit/>
          </a:bodyPr>
          <a:lstStyle/>
          <a:p>
            <a:pPr marL="425450" marR="5080" indent="-412750" algn="ctr">
              <a:spcBef>
                <a:spcPts val="300"/>
              </a:spcBef>
              <a:buSzPct val="25000"/>
            </a:pPr>
            <a:r>
              <a:rPr lang="pt-BR" sz="2000" dirty="0">
                <a:solidFill>
                  <a:prstClr val="white"/>
                </a:solidFill>
                <a:sym typeface="Questrial"/>
              </a:rPr>
              <a:t>ALUNOS TREINADOS</a:t>
            </a:r>
          </a:p>
        </p:txBody>
      </p:sp>
      <p:sp>
        <p:nvSpPr>
          <p:cNvPr id="8" name="Shape 66"/>
          <p:cNvSpPr txBox="1"/>
          <p:nvPr/>
        </p:nvSpPr>
        <p:spPr>
          <a:xfrm>
            <a:off x="994492" y="2727867"/>
            <a:ext cx="1681316" cy="872583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 anchorCtr="0">
            <a:noAutofit/>
          </a:bodyPr>
          <a:lstStyle/>
          <a:p>
            <a:pPr algn="ctr">
              <a:lnSpc>
                <a:spcPct val="117129"/>
              </a:lnSpc>
              <a:buSzPct val="25000"/>
            </a:pPr>
            <a:r>
              <a:rPr lang="pt-BR" sz="5000" dirty="0">
                <a:solidFill>
                  <a:srgbClr val="E6E7E8"/>
                </a:solidFill>
                <a:latin typeface="Questrial"/>
                <a:ea typeface="Arial Black"/>
                <a:cs typeface="Arial Black"/>
                <a:sym typeface="Arial Black"/>
              </a:rPr>
              <a:t>50</a:t>
            </a:r>
            <a:r>
              <a:rPr lang="pt-BR" sz="2500" dirty="0">
                <a:solidFill>
                  <a:srgbClr val="E6E7E8"/>
                </a:solidFill>
                <a:ea typeface="Arial Black"/>
                <a:cs typeface="Arial Black"/>
                <a:sym typeface="Arial Black"/>
              </a:rPr>
              <a:t>+</a:t>
            </a:r>
            <a:endParaRPr lang="pt-BR" sz="2500" dirty="0">
              <a:solidFill>
                <a:srgbClr val="E6E7E8"/>
              </a:solidFill>
              <a:latin typeface="Questrial"/>
              <a:ea typeface="Arial Black"/>
              <a:cs typeface="Arial Black"/>
              <a:sym typeface="Arial Black"/>
            </a:endParaRPr>
          </a:p>
        </p:txBody>
      </p:sp>
      <p:sp>
        <p:nvSpPr>
          <p:cNvPr id="12" name="Shape 66"/>
          <p:cNvSpPr txBox="1"/>
          <p:nvPr/>
        </p:nvSpPr>
        <p:spPr>
          <a:xfrm>
            <a:off x="994492" y="3657916"/>
            <a:ext cx="1681316" cy="441551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>
            <a:noAutofit/>
          </a:bodyPr>
          <a:lstStyle/>
          <a:p>
            <a:pPr marL="61594" indent="-10794" algn="ctr">
              <a:lnSpc>
                <a:spcPct val="111388"/>
              </a:lnSpc>
              <a:buSzPct val="25000"/>
            </a:pPr>
            <a:r>
              <a:rPr lang="pt-BR" sz="2000" dirty="0">
                <a:solidFill>
                  <a:srgbClr val="FFFFFF"/>
                </a:solidFill>
                <a:ea typeface="Questrial"/>
                <a:cs typeface="Questrial"/>
                <a:sym typeface="Questrial"/>
              </a:rPr>
              <a:t>PROJETOS</a:t>
            </a:r>
          </a:p>
        </p:txBody>
      </p:sp>
      <p:sp>
        <p:nvSpPr>
          <p:cNvPr id="13" name="Shape 68"/>
          <p:cNvSpPr txBox="1"/>
          <p:nvPr/>
        </p:nvSpPr>
        <p:spPr>
          <a:xfrm>
            <a:off x="3945250" y="3618538"/>
            <a:ext cx="2193300" cy="10581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 anchorCtr="0">
            <a:noAutofit/>
          </a:bodyPr>
          <a:lstStyle/>
          <a:p>
            <a:pPr marR="67945" algn="ctr">
              <a:buSzPct val="25000"/>
            </a:pPr>
            <a:r>
              <a:rPr lang="pt-BR" sz="2000" dirty="0">
                <a:solidFill>
                  <a:srgbClr val="FFFFFF"/>
                </a:solidFill>
                <a:ea typeface="Questrial"/>
                <a:cs typeface="Questrial"/>
                <a:sym typeface="Questrial"/>
              </a:rPr>
              <a:t>ANOS DE ATUAÇÃO NO MERCADO NACIONAL</a:t>
            </a:r>
          </a:p>
        </p:txBody>
      </p:sp>
      <p:sp>
        <p:nvSpPr>
          <p:cNvPr id="16" name="Shape 69"/>
          <p:cNvSpPr txBox="1"/>
          <p:nvPr/>
        </p:nvSpPr>
        <p:spPr>
          <a:xfrm>
            <a:off x="7096200" y="2727866"/>
            <a:ext cx="2304900" cy="84126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 anchorCtr="0">
            <a:noAutofit/>
          </a:bodyPr>
          <a:lstStyle/>
          <a:p>
            <a:pPr marL="12700" algn="ctr">
              <a:buSzPct val="25000"/>
            </a:pPr>
            <a:r>
              <a:rPr lang="pt-BR" sz="5000" dirty="0">
                <a:solidFill>
                  <a:prstClr val="white"/>
                </a:solidFill>
                <a:latin typeface="Questrial"/>
                <a:sym typeface="Arial Black"/>
              </a:rPr>
              <a:t>100</a:t>
            </a:r>
            <a:r>
              <a:rPr lang="pt-BR" sz="2500" dirty="0">
                <a:solidFill>
                  <a:prstClr val="white"/>
                </a:solidFill>
                <a:latin typeface="Questrial"/>
                <a:sym typeface="Arial Black"/>
              </a:rPr>
              <a:t>+</a:t>
            </a:r>
          </a:p>
        </p:txBody>
      </p:sp>
      <p:grpSp>
        <p:nvGrpSpPr>
          <p:cNvPr id="17" name="Group 16"/>
          <p:cNvGrpSpPr/>
          <p:nvPr/>
        </p:nvGrpSpPr>
        <p:grpSpPr>
          <a:xfrm>
            <a:off x="4356100" y="1062904"/>
            <a:ext cx="1371600" cy="27432"/>
            <a:chOff x="3537347" y="1265678"/>
            <a:chExt cx="1371600" cy="45719"/>
          </a:xfrm>
        </p:grpSpPr>
        <p:sp>
          <p:nvSpPr>
            <p:cNvPr id="18" name="Rectangle 17"/>
            <p:cNvSpPr/>
            <p:nvPr/>
          </p:nvSpPr>
          <p:spPr>
            <a:xfrm>
              <a:off x="3537347" y="1265678"/>
              <a:ext cx="457200" cy="4571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3994547" y="1265678"/>
              <a:ext cx="457200" cy="4571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4451747" y="1265678"/>
              <a:ext cx="457200" cy="45719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167858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nteligência e Tecnologi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993A7A-2128-4A6B-A341-CFD1EF2DF75E}" type="slidenum">
              <a:rPr lang="en-US" smtClean="0"/>
              <a:t>4</a:t>
            </a:fld>
            <a:endParaRPr lang="en-US"/>
          </a:p>
        </p:txBody>
      </p:sp>
      <p:sp>
        <p:nvSpPr>
          <p:cNvPr id="23" name="Rectangle 4"/>
          <p:cNvSpPr/>
          <p:nvPr/>
        </p:nvSpPr>
        <p:spPr>
          <a:xfrm>
            <a:off x="693737" y="677096"/>
            <a:ext cx="8696802" cy="42473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" lvl="0" indent="-10159" algn="ctr">
              <a:lnSpc>
                <a:spcPct val="119750"/>
              </a:lnSpc>
              <a:buSzPct val="25000"/>
            </a:pPr>
            <a:r>
              <a:rPr lang="pt-BR" dirty="0" smtClean="0">
                <a:solidFill>
                  <a:schemeClr val="tx1">
                    <a:lumMod val="65000"/>
                    <a:lumOff val="35000"/>
                  </a:schemeClr>
                </a:solidFill>
                <a:sym typeface="Questrial"/>
              </a:rPr>
              <a:t>Sistema CRUD via dashboard</a:t>
            </a:r>
          </a:p>
        </p:txBody>
      </p:sp>
      <p:grpSp>
        <p:nvGrpSpPr>
          <p:cNvPr id="18" name="Group 16"/>
          <p:cNvGrpSpPr/>
          <p:nvPr/>
        </p:nvGrpSpPr>
        <p:grpSpPr>
          <a:xfrm>
            <a:off x="4356338" y="1071742"/>
            <a:ext cx="1371600" cy="27432"/>
            <a:chOff x="3537347" y="1265678"/>
            <a:chExt cx="1371600" cy="45719"/>
          </a:xfrm>
        </p:grpSpPr>
        <p:sp>
          <p:nvSpPr>
            <p:cNvPr id="19" name="Rectangle 17"/>
            <p:cNvSpPr/>
            <p:nvPr/>
          </p:nvSpPr>
          <p:spPr>
            <a:xfrm>
              <a:off x="3537347" y="1265678"/>
              <a:ext cx="457200" cy="4571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20" name="Rectangle 18"/>
            <p:cNvSpPr/>
            <p:nvPr/>
          </p:nvSpPr>
          <p:spPr>
            <a:xfrm>
              <a:off x="3994547" y="1265678"/>
              <a:ext cx="457200" cy="4571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21" name="Rectangle 19"/>
            <p:cNvSpPr/>
            <p:nvPr/>
          </p:nvSpPr>
          <p:spPr>
            <a:xfrm>
              <a:off x="4451747" y="1265678"/>
              <a:ext cx="457200" cy="45719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</p:grpSp>
      <p:pic>
        <p:nvPicPr>
          <p:cNvPr id="14" name="Imagem 15"/>
          <p:cNvPicPr>
            <a:picLocks noChangeAspect="1"/>
          </p:cNvPicPr>
          <p:nvPr/>
        </p:nvPicPr>
        <p:blipFill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75395" y="3291271"/>
            <a:ext cx="2147888" cy="1366838"/>
          </a:xfrm>
          <a:prstGeom prst="rect">
            <a:avLst/>
          </a:prstGeom>
        </p:spPr>
      </p:pic>
      <p:pic>
        <p:nvPicPr>
          <p:cNvPr id="2052" name="Picture 4" descr="Resultado de imagem para database icon png gray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9530" y="3191258"/>
            <a:ext cx="1566863" cy="1566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3816954" y="1964006"/>
            <a:ext cx="25698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i="1" dirty="0" smtClean="0">
                <a:solidFill>
                  <a:schemeClr val="accent3"/>
                </a:solidFill>
              </a:rPr>
              <a:t>Write-back</a:t>
            </a:r>
          </a:p>
        </p:txBody>
      </p:sp>
      <p:sp>
        <p:nvSpPr>
          <p:cNvPr id="5" name="Right Arrow 4"/>
          <p:cNvSpPr/>
          <p:nvPr/>
        </p:nvSpPr>
        <p:spPr>
          <a:xfrm>
            <a:off x="2728398" y="3769405"/>
            <a:ext cx="864010" cy="396000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accent2"/>
              </a:solidFill>
            </a:endParaRPr>
          </a:p>
        </p:txBody>
      </p:sp>
      <p:pic>
        <p:nvPicPr>
          <p:cNvPr id="1026" name="Picture 2" descr="Resultado de imagem para two gear icon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752" b="99499" l="0" r="100000"/>
                    </a14:imgEffect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6539" y="3145567"/>
            <a:ext cx="1670714" cy="16582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Right Arrow 23"/>
          <p:cNvSpPr/>
          <p:nvPr/>
        </p:nvSpPr>
        <p:spPr>
          <a:xfrm>
            <a:off x="6611385" y="3769405"/>
            <a:ext cx="864010" cy="396000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accent2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474838" y="2448559"/>
            <a:ext cx="7089058" cy="20430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1" name="Rectangle 10"/>
          <p:cNvSpPr/>
          <p:nvPr/>
        </p:nvSpPr>
        <p:spPr>
          <a:xfrm>
            <a:off x="8446100" y="2448559"/>
            <a:ext cx="206477" cy="68885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2" name="Down Arrow 11"/>
          <p:cNvSpPr/>
          <p:nvPr/>
        </p:nvSpPr>
        <p:spPr>
          <a:xfrm>
            <a:off x="1314961" y="2448559"/>
            <a:ext cx="396000" cy="688857"/>
          </a:xfrm>
          <a:prstGeom prst="down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8" name="TextBox 27"/>
          <p:cNvSpPr txBox="1"/>
          <p:nvPr/>
        </p:nvSpPr>
        <p:spPr>
          <a:xfrm>
            <a:off x="228019" y="4958676"/>
            <a:ext cx="25698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i="1" dirty="0" smtClean="0">
                <a:solidFill>
                  <a:schemeClr val="accent3"/>
                </a:solidFill>
              </a:rPr>
              <a:t>Database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3816954" y="4958676"/>
            <a:ext cx="25698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i="1" dirty="0" smtClean="0">
                <a:solidFill>
                  <a:schemeClr val="accent3"/>
                </a:solidFill>
              </a:rPr>
              <a:t>ETL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7264396" y="4962413"/>
            <a:ext cx="25698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i="1" dirty="0" smtClean="0">
                <a:solidFill>
                  <a:schemeClr val="accent3"/>
                </a:solidFill>
              </a:rPr>
              <a:t>Dashboard</a:t>
            </a:r>
          </a:p>
        </p:txBody>
      </p:sp>
    </p:spTree>
    <p:extLst>
      <p:ext uri="{BB962C8B-B14F-4D97-AF65-F5344CB8AC3E}">
        <p14:creationId xmlns:p14="http://schemas.microsoft.com/office/powerpoint/2010/main" val="22651594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5" grpId="0" animBg="1"/>
      <p:bldP spid="24" grpId="0" animBg="1"/>
      <p:bldP spid="10" grpId="0" animBg="1"/>
      <p:bldP spid="11" grpId="0" animBg="1"/>
      <p:bldP spid="12" grpId="0" animBg="1"/>
      <p:bldP spid="28" grpId="0"/>
      <p:bldP spid="29" grpId="0"/>
      <p:bldP spid="30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nteligência e Tecnologi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993A7A-2128-4A6B-A341-CFD1EF2DF75E}" type="slidenum">
              <a:rPr lang="en-US" smtClean="0"/>
              <a:t>5</a:t>
            </a:fld>
            <a:endParaRPr lang="en-US"/>
          </a:p>
        </p:txBody>
      </p:sp>
      <p:sp>
        <p:nvSpPr>
          <p:cNvPr id="23" name="Rectangle 4"/>
          <p:cNvSpPr/>
          <p:nvPr/>
        </p:nvSpPr>
        <p:spPr>
          <a:xfrm>
            <a:off x="693737" y="677096"/>
            <a:ext cx="8696802" cy="42473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" lvl="0" indent="-10159" algn="ctr">
              <a:lnSpc>
                <a:spcPct val="119750"/>
              </a:lnSpc>
              <a:buSzPct val="25000"/>
            </a:pPr>
            <a:r>
              <a:rPr lang="pt-BR" dirty="0" smtClean="0">
                <a:solidFill>
                  <a:schemeClr val="tx1">
                    <a:lumMod val="65000"/>
                    <a:lumOff val="35000"/>
                  </a:schemeClr>
                </a:solidFill>
                <a:sym typeface="Questrial"/>
              </a:rPr>
              <a:t>Sistema CRUD via dashboard</a:t>
            </a:r>
          </a:p>
        </p:txBody>
      </p:sp>
      <p:grpSp>
        <p:nvGrpSpPr>
          <p:cNvPr id="18" name="Group 16"/>
          <p:cNvGrpSpPr/>
          <p:nvPr/>
        </p:nvGrpSpPr>
        <p:grpSpPr>
          <a:xfrm>
            <a:off x="4356338" y="1071742"/>
            <a:ext cx="1371600" cy="27432"/>
            <a:chOff x="3537347" y="1265678"/>
            <a:chExt cx="1371600" cy="45719"/>
          </a:xfrm>
        </p:grpSpPr>
        <p:sp>
          <p:nvSpPr>
            <p:cNvPr id="19" name="Rectangle 17"/>
            <p:cNvSpPr/>
            <p:nvPr/>
          </p:nvSpPr>
          <p:spPr>
            <a:xfrm>
              <a:off x="3537347" y="1265678"/>
              <a:ext cx="457200" cy="4571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20" name="Rectangle 18"/>
            <p:cNvSpPr/>
            <p:nvPr/>
          </p:nvSpPr>
          <p:spPr>
            <a:xfrm>
              <a:off x="3994547" y="1265678"/>
              <a:ext cx="457200" cy="4571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21" name="Rectangle 19"/>
            <p:cNvSpPr/>
            <p:nvPr/>
          </p:nvSpPr>
          <p:spPr>
            <a:xfrm>
              <a:off x="4451747" y="1265678"/>
              <a:ext cx="457200" cy="45719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</p:grpSp>
      <p:pic>
        <p:nvPicPr>
          <p:cNvPr id="6" name="Picture 2" descr="Resultado de imagem para cuba platform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60888" y="1219200"/>
            <a:ext cx="4762500" cy="4762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591793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4"/>
          <p:cNvSpPr/>
          <p:nvPr/>
        </p:nvSpPr>
        <p:spPr>
          <a:xfrm>
            <a:off x="545582" y="699999"/>
            <a:ext cx="8696802" cy="42473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" lvl="0" indent="-10159" algn="ctr">
              <a:lnSpc>
                <a:spcPct val="119750"/>
              </a:lnSpc>
              <a:buSzPct val="25000"/>
            </a:pPr>
            <a:r>
              <a:rPr lang="pt-BR" dirty="0" smtClean="0">
                <a:solidFill>
                  <a:schemeClr val="tx1">
                    <a:lumMod val="65000"/>
                    <a:lumOff val="35000"/>
                  </a:schemeClr>
                </a:solidFill>
                <a:sym typeface="Questrial"/>
              </a:rPr>
              <a:t>O que veremos nesse minicurso?</a:t>
            </a:r>
            <a:endParaRPr lang="pt-BR" dirty="0">
              <a:solidFill>
                <a:schemeClr val="tx1">
                  <a:lumMod val="65000"/>
                  <a:lumOff val="35000"/>
                </a:schemeClr>
              </a:solidFill>
              <a:sym typeface="Questrial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nteligência e Tecnologi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993A7A-2128-4A6B-A341-CFD1EF2DF75E}" type="slidenum">
              <a:rPr lang="en-US" smtClean="0"/>
              <a:t>6</a:t>
            </a:fld>
            <a:endParaRPr lang="en-US"/>
          </a:p>
        </p:txBody>
      </p:sp>
      <p:grpSp>
        <p:nvGrpSpPr>
          <p:cNvPr id="8" name="Group 16"/>
          <p:cNvGrpSpPr/>
          <p:nvPr/>
        </p:nvGrpSpPr>
        <p:grpSpPr>
          <a:xfrm>
            <a:off x="4208183" y="1094645"/>
            <a:ext cx="1371600" cy="27432"/>
            <a:chOff x="3537347" y="1265678"/>
            <a:chExt cx="1371600" cy="45719"/>
          </a:xfrm>
        </p:grpSpPr>
        <p:sp>
          <p:nvSpPr>
            <p:cNvPr id="10" name="Rectangle 17"/>
            <p:cNvSpPr/>
            <p:nvPr/>
          </p:nvSpPr>
          <p:spPr>
            <a:xfrm>
              <a:off x="3537347" y="1265678"/>
              <a:ext cx="457200" cy="4571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11" name="Rectangle 18"/>
            <p:cNvSpPr/>
            <p:nvPr/>
          </p:nvSpPr>
          <p:spPr>
            <a:xfrm>
              <a:off x="3994547" y="1265678"/>
              <a:ext cx="457200" cy="4571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12" name="Rectangle 19"/>
            <p:cNvSpPr/>
            <p:nvPr/>
          </p:nvSpPr>
          <p:spPr>
            <a:xfrm>
              <a:off x="4451747" y="1265678"/>
              <a:ext cx="457200" cy="45719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</p:grpSp>
      <p:sp>
        <p:nvSpPr>
          <p:cNvPr id="17" name="Shape 68"/>
          <p:cNvSpPr txBox="1"/>
          <p:nvPr/>
        </p:nvSpPr>
        <p:spPr>
          <a:xfrm>
            <a:off x="3945244" y="2759188"/>
            <a:ext cx="2193312" cy="809941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>
            <a:noAutofit/>
          </a:bodyPr>
          <a:lstStyle/>
          <a:p>
            <a:pPr marL="0" marR="67945" lvl="0" indent="0" algn="ctr" rtl="0">
              <a:lnSpc>
                <a:spcPct val="114629"/>
              </a:lnSpc>
              <a:spcBef>
                <a:spcPts val="0"/>
              </a:spcBef>
              <a:buSzPct val="25000"/>
              <a:buNone/>
            </a:pPr>
            <a:r>
              <a:rPr lang="pt-BR" sz="5000" dirty="0">
                <a:solidFill>
                  <a:schemeClr val="bg1"/>
                </a:solidFill>
                <a:latin typeface="+mj-lt"/>
                <a:ea typeface="Arial Black"/>
                <a:cs typeface="Arial Black"/>
                <a:sym typeface="Arial Black"/>
              </a:rPr>
              <a:t>2</a:t>
            </a:r>
            <a:endParaRPr lang="pt-BR" sz="2500" dirty="0">
              <a:solidFill>
                <a:schemeClr val="bg1"/>
              </a:solidFill>
              <a:latin typeface="+mj-lt"/>
              <a:ea typeface="Questrial"/>
              <a:cs typeface="Questrial"/>
              <a:sym typeface="Questrial"/>
            </a:endParaRPr>
          </a:p>
        </p:txBody>
      </p:sp>
      <p:sp>
        <p:nvSpPr>
          <p:cNvPr id="20" name="Shape 66"/>
          <p:cNvSpPr txBox="1"/>
          <p:nvPr/>
        </p:nvSpPr>
        <p:spPr>
          <a:xfrm>
            <a:off x="910426" y="3776800"/>
            <a:ext cx="1849448" cy="441551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>
            <a:noAutofit/>
          </a:bodyPr>
          <a:lstStyle/>
          <a:p>
            <a:pPr marL="61594" marR="0" lvl="0" indent="-10794" algn="ctr" rtl="0">
              <a:lnSpc>
                <a:spcPct val="111388"/>
              </a:lnSpc>
              <a:spcBef>
                <a:spcPts val="0"/>
              </a:spcBef>
              <a:buSzPct val="25000"/>
              <a:buNone/>
            </a:pPr>
            <a:r>
              <a:rPr lang="pt-BR" sz="2000" dirty="0" smtClean="0">
                <a:solidFill>
                  <a:srgbClr val="FFFFFF"/>
                </a:solidFill>
                <a:ea typeface="Questrial"/>
                <a:cs typeface="Questrial"/>
                <a:sym typeface="Questrial"/>
              </a:rPr>
              <a:t>CASO 1</a:t>
            </a:r>
            <a:endParaRPr lang="pt-BR" sz="2000" dirty="0">
              <a:solidFill>
                <a:srgbClr val="FFFFFF"/>
              </a:solidFill>
              <a:ea typeface="Questrial"/>
              <a:cs typeface="Questrial"/>
              <a:sym typeface="Questrial"/>
            </a:endParaRPr>
          </a:p>
        </p:txBody>
      </p:sp>
      <p:sp>
        <p:nvSpPr>
          <p:cNvPr id="21" name="Shape 68"/>
          <p:cNvSpPr txBox="1"/>
          <p:nvPr/>
        </p:nvSpPr>
        <p:spPr>
          <a:xfrm>
            <a:off x="3984851" y="3807405"/>
            <a:ext cx="2193300" cy="10581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 anchorCtr="0">
            <a:noAutofit/>
          </a:bodyPr>
          <a:lstStyle/>
          <a:p>
            <a:pPr marL="0" marR="67945" lvl="0" indent="0" algn="ctr" rtl="0">
              <a:spcBef>
                <a:spcPts val="0"/>
              </a:spcBef>
              <a:buSzPct val="25000"/>
              <a:buNone/>
            </a:pPr>
            <a:r>
              <a:rPr lang="pt-BR" sz="2000" dirty="0" smtClean="0">
                <a:solidFill>
                  <a:srgbClr val="FFFFFF"/>
                </a:solidFill>
                <a:ea typeface="Questrial"/>
                <a:cs typeface="Questrial"/>
                <a:sym typeface="Questrial"/>
              </a:rPr>
              <a:t>CASO 2</a:t>
            </a:r>
            <a:endParaRPr lang="pt-BR" sz="2000" dirty="0">
              <a:solidFill>
                <a:srgbClr val="FFFFFF"/>
              </a:solidFill>
              <a:ea typeface="Questrial"/>
              <a:cs typeface="Questrial"/>
              <a:sym typeface="Questrial"/>
            </a:endParaRPr>
          </a:p>
        </p:txBody>
      </p:sp>
      <p:sp>
        <p:nvSpPr>
          <p:cNvPr id="22" name="Shape 69"/>
          <p:cNvSpPr txBox="1"/>
          <p:nvPr/>
        </p:nvSpPr>
        <p:spPr>
          <a:xfrm>
            <a:off x="7096200" y="2743527"/>
            <a:ext cx="2304900" cy="84126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 anchorCtr="0">
            <a:noAutofit/>
          </a:bodyPr>
          <a:lstStyle/>
          <a:p>
            <a:pPr marL="1270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pt-BR" sz="5000" dirty="0">
                <a:solidFill>
                  <a:schemeClr val="bg1"/>
                </a:solidFill>
                <a:latin typeface="+mj-lt"/>
                <a:sym typeface="Arial Black"/>
              </a:rPr>
              <a:t>3</a:t>
            </a:r>
            <a:endParaRPr lang="pt-BR" sz="2500" dirty="0">
              <a:solidFill>
                <a:schemeClr val="bg1"/>
              </a:solidFill>
              <a:latin typeface="+mj-lt"/>
              <a:sym typeface="Arial Black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460500" y="1691963"/>
            <a:ext cx="7162800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Como instalar e inicializar o CUB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Conectando o CUBA ao banco de dado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Alterando o banco de dados via CUBA dashboard</a:t>
            </a:r>
          </a:p>
          <a:p>
            <a:endParaRPr lang="pt-BR" sz="240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400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Coffee</a:t>
            </a:r>
            <a:r>
              <a:rPr lang="pt-BR" sz="2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brea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2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Utilizando Java Script no CDE dashboar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Conectando um CDE dashboard ao CUB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Alterando o banco de dados via CDE dashboar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2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18229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Resultado de imagem para arregaçar as manga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083800" cy="7200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/>
        </p:nvSpPr>
        <p:spPr>
          <a:xfrm>
            <a:off x="0" y="2447925"/>
            <a:ext cx="10083800" cy="2305050"/>
          </a:xfrm>
          <a:prstGeom prst="rect">
            <a:avLst/>
          </a:prstGeom>
          <a:solidFill>
            <a:schemeClr val="dk1">
              <a:alpha val="63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7200" dirty="0" smtClean="0"/>
              <a:t>Mãos à obra!</a:t>
            </a:r>
            <a:endParaRPr lang="pt-BR" sz="7200" dirty="0"/>
          </a:p>
        </p:txBody>
      </p:sp>
    </p:spTree>
    <p:extLst>
      <p:ext uri="{BB962C8B-B14F-4D97-AF65-F5344CB8AC3E}">
        <p14:creationId xmlns:p14="http://schemas.microsoft.com/office/powerpoint/2010/main" val="12810510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Inteligência e Tecnologia</a:t>
            </a:r>
            <a:endParaRPr lang="en-US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993A7A-2128-4A6B-A341-CFD1EF2DF75E}" type="slidenum">
              <a:rPr lang="en-US" smtClean="0"/>
              <a:t>8</a:t>
            </a:fld>
            <a:endParaRPr lang="en-US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693261" y="499285"/>
            <a:ext cx="8697278" cy="54553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6012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kern="1200" cap="all" baseline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2700">
              <a:lnSpc>
                <a:spcPct val="100000"/>
              </a:lnSpc>
              <a:spcBef>
                <a:spcPts val="0"/>
              </a:spcBef>
            </a:pPr>
            <a:r>
              <a:rPr lang="pt-BR" dirty="0" smtClean="0">
                <a:solidFill>
                  <a:schemeClr val="accent2"/>
                </a:solidFill>
                <a:sym typeface="Questrial"/>
              </a:rPr>
              <a:t>Curso </a:t>
            </a:r>
            <a:r>
              <a:rPr lang="pt-BR" dirty="0" err="1" smtClean="0">
                <a:solidFill>
                  <a:schemeClr val="accent2"/>
                </a:solidFill>
                <a:sym typeface="Questrial"/>
              </a:rPr>
              <a:t>pentaho</a:t>
            </a:r>
            <a:r>
              <a:rPr lang="pt-BR" dirty="0" smtClean="0">
                <a:solidFill>
                  <a:schemeClr val="accent2"/>
                </a:solidFill>
                <a:sym typeface="Questrial"/>
              </a:rPr>
              <a:t> </a:t>
            </a:r>
            <a:r>
              <a:rPr lang="pt-BR" dirty="0" err="1" smtClean="0">
                <a:solidFill>
                  <a:schemeClr val="accent2"/>
                </a:solidFill>
                <a:sym typeface="Questrial"/>
              </a:rPr>
              <a:t>udemy</a:t>
            </a:r>
            <a:endParaRPr lang="pt-BR" dirty="0">
              <a:solidFill>
                <a:schemeClr val="accent2"/>
              </a:solidFill>
              <a:sym typeface="Questrial"/>
            </a:endParaRPr>
          </a:p>
        </p:txBody>
      </p:sp>
      <p:grpSp>
        <p:nvGrpSpPr>
          <p:cNvPr id="6" name="Group 16"/>
          <p:cNvGrpSpPr/>
          <p:nvPr/>
        </p:nvGrpSpPr>
        <p:grpSpPr>
          <a:xfrm>
            <a:off x="4356100" y="1062904"/>
            <a:ext cx="1371600" cy="27432"/>
            <a:chOff x="3537347" y="1265678"/>
            <a:chExt cx="1371600" cy="45719"/>
          </a:xfrm>
        </p:grpSpPr>
        <p:sp>
          <p:nvSpPr>
            <p:cNvPr id="7" name="Rectangle 17"/>
            <p:cNvSpPr/>
            <p:nvPr/>
          </p:nvSpPr>
          <p:spPr>
            <a:xfrm>
              <a:off x="3537347" y="1265678"/>
              <a:ext cx="457200" cy="4571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8" name="Rectangle 18"/>
            <p:cNvSpPr/>
            <p:nvPr/>
          </p:nvSpPr>
          <p:spPr>
            <a:xfrm>
              <a:off x="3994547" y="1265678"/>
              <a:ext cx="457200" cy="4571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9" name="Rectangle 19"/>
            <p:cNvSpPr/>
            <p:nvPr/>
          </p:nvSpPr>
          <p:spPr>
            <a:xfrm>
              <a:off x="4451747" y="1265678"/>
              <a:ext cx="457200" cy="45719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sp>
        <p:nvSpPr>
          <p:cNvPr id="11" name="TextBox 1"/>
          <p:cNvSpPr txBox="1"/>
          <p:nvPr/>
        </p:nvSpPr>
        <p:spPr>
          <a:xfrm>
            <a:off x="1460500" y="2328787"/>
            <a:ext cx="716280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Lançamento neste mê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2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240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Coloque seu e-mail na lista e receba um cupom de desconto no lançamento do curso</a:t>
            </a:r>
          </a:p>
        </p:txBody>
      </p:sp>
    </p:spTree>
    <p:extLst>
      <p:ext uri="{BB962C8B-B14F-4D97-AF65-F5344CB8AC3E}">
        <p14:creationId xmlns:p14="http://schemas.microsoft.com/office/powerpoint/2010/main" val="37436311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8"/>
          <p:cNvPicPr>
            <a:picLocks noChangeAspect="1"/>
          </p:cNvPicPr>
          <p:nvPr/>
        </p:nvPicPr>
        <p:blipFill rotWithShape="1"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7755" r="-1"/>
          <a:stretch/>
        </p:blipFill>
        <p:spPr>
          <a:xfrm>
            <a:off x="2383586" y="3333634"/>
            <a:ext cx="5316629" cy="226922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3051628" y="2051592"/>
            <a:ext cx="4062400" cy="52322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12700" lvl="0" algn="ctr">
              <a:buSzPct val="25000"/>
            </a:pPr>
            <a:r>
              <a:rPr lang="pt-BR" sz="2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Questrial"/>
                <a:ea typeface="Questrial"/>
                <a:cs typeface="Questrial"/>
                <a:sym typeface="Questrial"/>
              </a:rPr>
              <a:t>Obrigado!</a:t>
            </a:r>
            <a:endParaRPr lang="pt-BR" sz="2800" dirty="0">
              <a:solidFill>
                <a:schemeClr val="tx1">
                  <a:lumMod val="65000"/>
                  <a:lumOff val="35000"/>
                </a:schemeClr>
              </a:solidFill>
              <a:latin typeface="Questrial"/>
              <a:ea typeface="Questrial"/>
              <a:cs typeface="Questrial"/>
              <a:sym typeface="Questrial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051628" y="6174374"/>
            <a:ext cx="4062400" cy="33855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12700" lvl="0" algn="ctr">
              <a:buSzPct val="25000"/>
            </a:pPr>
            <a:r>
              <a:rPr lang="pt-BR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Questrial"/>
                <a:ea typeface="Questrial"/>
                <a:cs typeface="Questrial"/>
                <a:sym typeface="Questrial"/>
              </a:rPr>
              <a:t>fernbi.com.br</a:t>
            </a:r>
            <a:endParaRPr lang="pt-BR" sz="1600" dirty="0">
              <a:solidFill>
                <a:schemeClr val="tx1">
                  <a:lumMod val="65000"/>
                  <a:lumOff val="35000"/>
                </a:schemeClr>
              </a:solidFill>
              <a:latin typeface="Questrial"/>
              <a:ea typeface="Questrial"/>
              <a:cs typeface="Questrial"/>
              <a:sym typeface="Questrial"/>
            </a:endParaRPr>
          </a:p>
        </p:txBody>
      </p:sp>
    </p:spTree>
    <p:extLst>
      <p:ext uri="{BB962C8B-B14F-4D97-AF65-F5344CB8AC3E}">
        <p14:creationId xmlns:p14="http://schemas.microsoft.com/office/powerpoint/2010/main" val="18634451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J2iRTR8UeTp6GzUoKJFw"/>
</p:tagLst>
</file>

<file path=ppt/theme/theme1.xml><?xml version="1.0" encoding="utf-8"?>
<a:theme xmlns:a="http://schemas.openxmlformats.org/drawingml/2006/main" name="Office Theme">
  <a:themeElements>
    <a:clrScheme name="Fernbi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F75BC"/>
      </a:accent1>
      <a:accent2>
        <a:srgbClr val="FCB040"/>
      </a:accent2>
      <a:accent3>
        <a:srgbClr val="7F7F7F"/>
      </a:accent3>
      <a:accent4>
        <a:srgbClr val="083C60"/>
      </a:accent4>
      <a:accent5>
        <a:srgbClr val="CD7B03"/>
      </a:accent5>
      <a:accent6>
        <a:srgbClr val="404040"/>
      </a:accent6>
      <a:hlink>
        <a:srgbClr val="0F75BC"/>
      </a:hlink>
      <a:folHlink>
        <a:srgbClr val="7F7F7F"/>
      </a:folHlink>
    </a:clrScheme>
    <a:fontScheme name="Custom 51">
      <a:majorFont>
        <a:latin typeface="Questrial"/>
        <a:ea typeface=""/>
        <a:cs typeface=""/>
      </a:majorFont>
      <a:minorFont>
        <a:latin typeface="Calibri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Fernbi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F75BC"/>
      </a:accent1>
      <a:accent2>
        <a:srgbClr val="FCB040"/>
      </a:accent2>
      <a:accent3>
        <a:srgbClr val="7F7F7F"/>
      </a:accent3>
      <a:accent4>
        <a:srgbClr val="083C60"/>
      </a:accent4>
      <a:accent5>
        <a:srgbClr val="CD7B03"/>
      </a:accent5>
      <a:accent6>
        <a:srgbClr val="404040"/>
      </a:accent6>
      <a:hlink>
        <a:srgbClr val="0F75BC"/>
      </a:hlink>
      <a:folHlink>
        <a:srgbClr val="7F7F7F"/>
      </a:folHlink>
    </a:clrScheme>
    <a:fontScheme name="Custom 51">
      <a:majorFont>
        <a:latin typeface="Questrial"/>
        <a:ea typeface=""/>
        <a:cs typeface=""/>
      </a:majorFont>
      <a:minorFont>
        <a:latin typeface="Calibri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927</TotalTime>
  <Words>153</Words>
  <Application>Microsoft Office PowerPoint</Application>
  <PresentationFormat>Personalizar</PresentationFormat>
  <Paragraphs>57</Paragraphs>
  <Slides>9</Slides>
  <Notes>7</Notes>
  <HiddenSlides>0</HiddenSlides>
  <MMClips>0</MMClips>
  <ScaleCrop>false</ScaleCrop>
  <HeadingPairs>
    <vt:vector size="4" baseType="variant">
      <vt:variant>
        <vt:lpstr>Tema</vt:lpstr>
      </vt:variant>
      <vt:variant>
        <vt:i4>2</vt:i4>
      </vt:variant>
      <vt:variant>
        <vt:lpstr>Títulos de slides</vt:lpstr>
      </vt:variant>
      <vt:variant>
        <vt:i4>9</vt:i4>
      </vt:variant>
    </vt:vector>
  </HeadingPairs>
  <TitlesOfParts>
    <vt:vector size="11" baseType="lpstr">
      <vt:lpstr>Office Theme</vt:lpstr>
      <vt:lpstr>1_Office Theme</vt:lpstr>
      <vt:lpstr>Apresentação do PowerPoint</vt:lpstr>
      <vt:lpstr>Apresentação do PowerPoint</vt:lpstr>
      <vt:lpstr>Nossos números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d Khan</dc:creator>
  <cp:lastModifiedBy>Daniel Valenti</cp:lastModifiedBy>
  <cp:revision>170</cp:revision>
  <dcterms:created xsi:type="dcterms:W3CDTF">2017-01-02T02:04:32Z</dcterms:created>
  <dcterms:modified xsi:type="dcterms:W3CDTF">2017-05-09T20:40:30Z</dcterms:modified>
</cp:coreProperties>
</file>